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2" r:id="rId6"/>
    <p:sldMasterId id="2147484033" r:id="rId7"/>
    <p:sldMasterId id="2147484105" r:id="rId8"/>
    <p:sldMasterId id="2147484153" r:id="rId9"/>
    <p:sldMasterId id="2147484205" r:id="rId10"/>
    <p:sldMasterId id="2147484240" r:id="rId11"/>
  </p:sldMasterIdLst>
  <p:notesMasterIdLst>
    <p:notesMasterId r:id="rId13"/>
  </p:notesMasterIdLst>
  <p:handoutMasterIdLst>
    <p:handoutMasterId r:id="rId14"/>
  </p:handoutMasterIdLst>
  <p:sldIdLst>
    <p:sldId id="2076137414" r:id="rId12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EE3212-8740-3453-19D6-7F019550136A}" name="Dimitri Cusnir" initials="DC" userId="S::Dimitri.Cusnir@es.ey.com::65ce49f7-14bf-4fab-af04-0a232eec7434" providerId="AD"/>
  <p188:author id="{DCD77441-A258-0346-4BCD-AA1372C90E54}" name="Mateusz Dzielicki" initials="MD" userId="S::Mateusz.Dzielicki@gds.ey.com::83f6df8a-910b-4c10-bb9c-8dbb763d5084" providerId="AD"/>
  <p188:author id="{079F1857-25BA-80D6-5135-94C8D240DD00}" name="Anna Kapskaia" initials="AK" userId="S::Anna.Kapskaia@gds.ey.com::3c8bdb6b-7f65-493f-ae62-cbb40329198d" providerId="AD"/>
  <p188:author id="{39CEBE7C-501C-8974-6E4D-921C24D6F83C}" name="Camilla Lennstrand" initials="CL" userId="S::cle@muuto.com::94b13b79-8ef1-42d5-bf63-1d9cf16623d6" providerId="AD"/>
  <p188:author id="{F75D9CC6-F84B-FB87-5AF6-E6617F4608D4}" name="Lola Hoya Esclapez" initials="LE" userId="S::dolores.hoya.esclapez@es.ey.com::4679d1af-c7ec-445a-a0d2-26ede076700e" providerId="AD"/>
  <p188:author id="{832FCACA-5D34-17B5-3066-771B39C901F0}" name="Tina Korshøj" initials="TK" userId="Tina Korshøj" providerId="None"/>
  <p188:author id="{8FFD26DB-2C2F-ECEB-436D-D073CCAE428B}" name="Lola Hoya Esclapez" initials="LH" userId="S::Dolores.Hoya.Esclapez@es.ey.com::4679d1af-c7ec-445a-a0d2-26ede076700e" providerId="AD"/>
  <p188:author id="{7C3030F5-8DD4-74F8-B815-EB7AE77A93AB}" name="Tina Korshøj" initials="" userId="S::tk@muuto.com::fc9c1787-86ff-4527-a6cb-a23af2ce0c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ce Paul" initials="GP" lastIdx="41" clrIdx="6">
    <p:extLst>
      <p:ext uri="{19B8F6BF-5375-455C-9EA6-DF929625EA0E}">
        <p15:presenceInfo xmlns:p15="http://schemas.microsoft.com/office/powerpoint/2012/main" userId="S::Grace.Paul@ey.com::f5a7f307-671c-4c5c-abaf-44860b4962fd" providerId="AD"/>
      </p:ext>
    </p:extLst>
  </p:cmAuthor>
  <p:cmAuthor id="8" name="Erika L McClimans" initials="ELM" lastIdx="66" clrIdx="7">
    <p:extLst>
      <p:ext uri="{19B8F6BF-5375-455C-9EA6-DF929625EA0E}">
        <p15:presenceInfo xmlns:p15="http://schemas.microsoft.com/office/powerpoint/2012/main" userId="S::Erika.McClimans@ey.com::193e7cd6-13d5-4a6c-9819-b19369357e0b" providerId="AD"/>
      </p:ext>
    </p:extLst>
  </p:cmAuthor>
  <p:cmAuthor id="2" name="Author" initials="A" lastIdx="474" clrIdx="1"/>
  <p:cmAuthor id="9" name="Tracy L Bonaccorso" initials="TLB" lastIdx="29" clrIdx="8">
    <p:extLst>
      <p:ext uri="{19B8F6BF-5375-455C-9EA6-DF929625EA0E}">
        <p15:presenceInfo xmlns:p15="http://schemas.microsoft.com/office/powerpoint/2012/main" userId="S::Tracy.L.Bonaccorso@ey.com::c158eb98-b32e-4974-8bed-84449e86cab7" providerId="AD"/>
      </p:ext>
    </p:extLst>
  </p:cmAuthor>
  <p:cmAuthor id="3" name="Lola Hoya Esclapez" initials="LE" lastIdx="11" clrIdx="2">
    <p:extLst>
      <p:ext uri="{19B8F6BF-5375-455C-9EA6-DF929625EA0E}">
        <p15:presenceInfo xmlns:p15="http://schemas.microsoft.com/office/powerpoint/2012/main" userId="S::dolores.hoya.esclapez@es.ey.com::4679d1af-c7ec-445a-a0d2-26ede076700e" providerId="AD"/>
      </p:ext>
    </p:extLst>
  </p:cmAuthor>
  <p:cmAuthor id="10" name="Ron Sklaver" initials="RS" lastIdx="85" clrIdx="9">
    <p:extLst>
      <p:ext uri="{19B8F6BF-5375-455C-9EA6-DF929625EA0E}">
        <p15:presenceInfo xmlns:p15="http://schemas.microsoft.com/office/powerpoint/2012/main" userId="S::Ron.Sklaver@ey.com::479b551f-9247-403b-b6dc-3829825b463b" providerId="AD"/>
      </p:ext>
    </p:extLst>
  </p:cmAuthor>
  <p:cmAuthor id="4" name="Marta Montilla Muñoz" initials="MMM" lastIdx="112" clrIdx="3">
    <p:extLst>
      <p:ext uri="{19B8F6BF-5375-455C-9EA6-DF929625EA0E}">
        <p15:presenceInfo xmlns:p15="http://schemas.microsoft.com/office/powerpoint/2012/main" userId="S::Marta.Montilla.Munoz@es.ey.com::d823162a-d09a-4a74-b6f8-4bafa5a9dfbf" providerId="AD"/>
      </p:ext>
    </p:extLst>
  </p:cmAuthor>
  <p:cmAuthor id="11" name="Vivian A Chen" initials="VC" lastIdx="10" clrIdx="10">
    <p:extLst>
      <p:ext uri="{19B8F6BF-5375-455C-9EA6-DF929625EA0E}">
        <p15:presenceInfo xmlns:p15="http://schemas.microsoft.com/office/powerpoint/2012/main" userId="S::vivian.chen@ey.com::4f59d42d-fcb3-4079-9854-805953c9c3ed" providerId="AD"/>
      </p:ext>
    </p:extLst>
  </p:cmAuthor>
  <p:cmAuthor id="5" name="Michael J Wallace" initials="MW" lastIdx="2" clrIdx="4">
    <p:extLst>
      <p:ext uri="{19B8F6BF-5375-455C-9EA6-DF929625EA0E}">
        <p15:presenceInfo xmlns:p15="http://schemas.microsoft.com/office/powerpoint/2012/main" userId="S::michael.wallace@ey.com::5a345df2-9db6-4d75-aca1-3867ed19435d" providerId="AD"/>
      </p:ext>
    </p:extLst>
  </p:cmAuthor>
  <p:cmAuthor id="6" name="Craig M Brandofino" initials="CMB" lastIdx="3" clrIdx="5">
    <p:extLst>
      <p:ext uri="{19B8F6BF-5375-455C-9EA6-DF929625EA0E}">
        <p15:presenceInfo xmlns:p15="http://schemas.microsoft.com/office/powerpoint/2012/main" userId="S::Craig.Brandofino@ey.com::bafbf714-d2b7-473b-b7e8-d70abfcbfd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ACD"/>
    <a:srgbClr val="FFE600"/>
    <a:srgbClr val="C1AF11"/>
    <a:srgbClr val="2E2E38"/>
    <a:srgbClr val="98C890"/>
    <a:srgbClr val="151519"/>
    <a:srgbClr val="747480"/>
    <a:srgbClr val="747481"/>
    <a:srgbClr val="D2D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407" autoAdjust="0"/>
    <p:restoredTop sz="90493" autoAdjust="0"/>
  </p:normalViewPr>
  <p:slideViewPr>
    <p:cSldViewPr snapToGrid="0">
      <p:cViewPr varScale="1">
        <p:scale>
          <a:sx n="103" d="100"/>
          <a:sy n="103" d="100"/>
        </p:scale>
        <p:origin x="552" y="176"/>
      </p:cViewPr>
      <p:guideLst>
        <p:guide orient="horz" pos="768"/>
        <p:guide pos="3842"/>
      </p:guideLst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5" Type="http://schemas.openxmlformats.org/officeDocument/2006/relationships/customXml" Target="../customXml/item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3/2025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r>
              <a:rPr lang="en-GB">
                <a:latin typeface="Arial" pitchFamily="34" charset="0"/>
              </a:rPr>
              <a:t>Small Projects Guid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r>
              <a:rPr lang="en-GB"/>
              <a:t>Small Projects Guid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1188E-9FEB-6917-B308-82CFE7653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C4FC8A-588D-73F2-C1E5-FA1A201B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3E5FBD-45B8-5537-9378-434AE85EF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FE514C-A93A-7A1E-14B8-88AC61C8A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26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muuto.com/color-list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lay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4">
            <a:extLst>
              <a:ext uri="{FF2B5EF4-FFF2-40B4-BE49-F238E27FC236}">
                <a16:creationId xmlns:a16="http://schemas.microsoft.com/office/drawing/2014/main" id="{40565083-7E2B-49DC-98C8-A71D1BF37A33}"/>
              </a:ext>
            </a:extLst>
          </p:cNvPr>
          <p:cNvSpPr/>
          <p:nvPr userDrawn="1"/>
        </p:nvSpPr>
        <p:spPr>
          <a:xfrm>
            <a:off x="11057670" y="206756"/>
            <a:ext cx="867299" cy="325887"/>
          </a:xfrm>
          <a:custGeom>
            <a:avLst/>
            <a:gdLst>
              <a:gd name="connsiteX0" fmla="*/ 0 w 1784195"/>
              <a:gd name="connsiteY0" fmla="*/ 1081668 h 1081668"/>
              <a:gd name="connsiteX1" fmla="*/ 892098 w 1784195"/>
              <a:gd name="connsiteY1" fmla="*/ 0 h 1081668"/>
              <a:gd name="connsiteX2" fmla="*/ 1784195 w 1784195"/>
              <a:gd name="connsiteY2" fmla="*/ 1081668 h 1081668"/>
              <a:gd name="connsiteX3" fmla="*/ 0 w 1784195"/>
              <a:gd name="connsiteY3" fmla="*/ 1081668 h 1081668"/>
              <a:gd name="connsiteX0" fmla="*/ 0 w 1784196"/>
              <a:gd name="connsiteY0" fmla="*/ 323385 h 323385"/>
              <a:gd name="connsiteX1" fmla="*/ 1784196 w 1784196"/>
              <a:gd name="connsiteY1" fmla="*/ 0 h 323385"/>
              <a:gd name="connsiteX2" fmla="*/ 1784195 w 1784196"/>
              <a:gd name="connsiteY2" fmla="*/ 323385 h 323385"/>
              <a:gd name="connsiteX3" fmla="*/ 0 w 1784196"/>
              <a:gd name="connsiteY3" fmla="*/ 323385 h 323385"/>
              <a:gd name="connsiteX0" fmla="*/ 0 w 1784196"/>
              <a:gd name="connsiteY0" fmla="*/ 338475 h 338475"/>
              <a:gd name="connsiteX1" fmla="*/ 1784196 w 1784196"/>
              <a:gd name="connsiteY1" fmla="*/ 0 h 338475"/>
              <a:gd name="connsiteX2" fmla="*/ 1784195 w 1784196"/>
              <a:gd name="connsiteY2" fmla="*/ 338475 h 338475"/>
              <a:gd name="connsiteX3" fmla="*/ 0 w 1784196"/>
              <a:gd name="connsiteY3" fmla="*/ 338475 h 338475"/>
              <a:gd name="connsiteX0" fmla="*/ 0 w 1784195"/>
              <a:gd name="connsiteY0" fmla="*/ 344510 h 344510"/>
              <a:gd name="connsiteX1" fmla="*/ 1781178 w 1784195"/>
              <a:gd name="connsiteY1" fmla="*/ 0 h 344510"/>
              <a:gd name="connsiteX2" fmla="*/ 1784195 w 1784195"/>
              <a:gd name="connsiteY2" fmla="*/ 344510 h 344510"/>
              <a:gd name="connsiteX3" fmla="*/ 0 w 1784195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  <a:gd name="connsiteX0" fmla="*/ 0 w 1023704"/>
              <a:gd name="connsiteY0" fmla="*/ 347527 h 347528"/>
              <a:gd name="connsiteX1" fmla="*/ 1017669 w 1023704"/>
              <a:gd name="connsiteY1" fmla="*/ 0 h 347528"/>
              <a:gd name="connsiteX2" fmla="*/ 1023704 w 1023704"/>
              <a:gd name="connsiteY2" fmla="*/ 347528 h 347528"/>
              <a:gd name="connsiteX3" fmla="*/ 0 w 1023704"/>
              <a:gd name="connsiteY3" fmla="*/ 347527 h 347528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669" h="347527">
                <a:moveTo>
                  <a:pt x="0" y="347527"/>
                </a:moveTo>
                <a:lnTo>
                  <a:pt x="1017669" y="0"/>
                </a:lnTo>
                <a:cubicBezTo>
                  <a:pt x="1017669" y="107795"/>
                  <a:pt x="1017668" y="236715"/>
                  <a:pt x="1017668" y="344510"/>
                </a:cubicBezTo>
                <a:lnTo>
                  <a:pt x="0" y="347527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4FE018A-77A4-4E11-91E8-4B933B3B62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73902" y="372973"/>
            <a:ext cx="510493" cy="2640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C15790-C9A9-4817-AE1B-F1AB6F5BFAAF}"/>
              </a:ext>
            </a:extLst>
          </p:cNvPr>
          <p:cNvSpPr/>
          <p:nvPr userDrawn="1"/>
        </p:nvSpPr>
        <p:spPr>
          <a:xfrm>
            <a:off x="273381" y="529626"/>
            <a:ext cx="11651592" cy="94268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D5D29-FFB5-4354-9D93-960392D2BE48}"/>
              </a:ext>
            </a:extLst>
          </p:cNvPr>
          <p:cNvSpPr/>
          <p:nvPr userDrawn="1"/>
        </p:nvSpPr>
        <p:spPr>
          <a:xfrm>
            <a:off x="266701" y="532642"/>
            <a:ext cx="5044888" cy="9125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8E2ECE-0984-FFAB-0B06-B51271E430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5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">
          <p15:clr>
            <a:srgbClr val="FBAE40"/>
          </p15:clr>
        </p15:guide>
        <p15:guide id="2" pos="168" userDrawn="1">
          <p15:clr>
            <a:srgbClr val="FBAE40"/>
          </p15:clr>
        </p15:guide>
        <p15:guide id="3" pos="7518" userDrawn="1">
          <p15:clr>
            <a:srgbClr val="FBAE40"/>
          </p15:clr>
        </p15:guide>
        <p15:guide id="5" orient="horz" pos="661" userDrawn="1">
          <p15:clr>
            <a:srgbClr val="FBAE40"/>
          </p15:clr>
        </p15:guide>
        <p15:guide id="6" orient="horz" pos="3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2729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4E2A016-F3A3-4D66-8AA2-F5605903F9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DD25EEE2-5B12-DEF0-A3DD-E1243B0B0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51F33AF-5497-8237-ED41-6324D73A93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8" y="1764000"/>
            <a:ext cx="7530620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Press ENTER then TAB to view next text style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7709" y="1764000"/>
            <a:ext cx="2596952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93C31-DFE7-452F-8997-24A43FFEEE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04277A-8C12-44D3-A642-240D6F5A5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687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8E9100A-A311-D9C9-5D2D-99F9C52870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1E4A38D-F1CE-43CF-8916-A97751FEBE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684E5D-9D36-8C7F-AC03-EFC46C5EEE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5557919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Press ENTER then TAB to view next text style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65007" y="1764000"/>
            <a:ext cx="457279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BDAF5-BC66-4E2A-99E6-1C2F10116E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DFF65-9BAF-46BE-A04D-731956E413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080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BE31E2B-E5A0-42C4-A9A2-72357DF42C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D1A27470-75BC-6568-1903-6076794500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D1E5A-C089-4CDD-A907-2F4F7A0A7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78FFAB-07DB-E376-B8D2-907435330777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4571568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656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9238809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75CEC-B4D2-4360-B53A-97D13F073F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C7F8-D421-42DA-9C85-2860E42FE8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8282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Text Placeholder background">
            <a:extLst>
              <a:ext uri="{FF2B5EF4-FFF2-40B4-BE49-F238E27FC236}">
                <a16:creationId xmlns:a16="http://schemas.microsoft.com/office/drawing/2014/main" id="{34E063AA-AF1D-E6EB-1FD0-EFD05E9613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D02C449E-5311-594C-E6FE-F093D01DD0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358961" y="1668623"/>
            <a:ext cx="10492488" cy="1649930"/>
          </a:xfrm>
        </p:spPr>
        <p:txBody>
          <a:bodyPr lIns="0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  <a:endParaRPr lang="en-GB" dirty="0"/>
          </a:p>
        </p:txBody>
      </p:sp>
      <p:sp>
        <p:nvSpPr>
          <p:cNvPr id="7" name="Text Placeholder h1">
            <a:extLst>
              <a:ext uri="{FF2B5EF4-FFF2-40B4-BE49-F238E27FC236}">
                <a16:creationId xmlns:a16="http://schemas.microsoft.com/office/drawing/2014/main" id="{C3D06205-EB73-D81F-B3FA-CECF51EC640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58962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1" name="Text Placeholder t1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0" name="Text Placeholder h2">
            <a:extLst>
              <a:ext uri="{FF2B5EF4-FFF2-40B4-BE49-F238E27FC236}">
                <a16:creationId xmlns:a16="http://schemas.microsoft.com/office/drawing/2014/main" id="{4260B3C1-E8D4-FABB-91A9-F8BD5CFD46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305955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2" name="Text Placeholder t2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305953" y="4941870"/>
            <a:ext cx="3587468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400" dirty="0"/>
            </a:lvl2pPr>
            <a:lvl3pPr>
              <a:defRPr lang="en-GB" sz="1400" dirty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1" name="Text Placeholder h3">
            <a:extLst>
              <a:ext uri="{FF2B5EF4-FFF2-40B4-BE49-F238E27FC236}">
                <a16:creationId xmlns:a16="http://schemas.microsoft.com/office/drawing/2014/main" id="{767E19F5-410F-A7A4-DE85-0921FDCAE47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8251359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3" name="Text Placeholder t3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9BBA23-6835-2CB6-F424-129020162816}"/>
              </a:ext>
            </a:extLst>
          </p:cNvPr>
          <p:cNvSpPr>
            <a:spLocks noGrp="1"/>
          </p:cNvSpPr>
          <p:nvPr>
            <p:ph type="ftr" sz="quarter" idx="10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FD7F6-3CDA-0480-EB3E-188307BEB28D}"/>
              </a:ext>
            </a:extLst>
          </p:cNvPr>
          <p:cNvSpPr>
            <a:spLocks noGrp="1"/>
          </p:cNvSpPr>
          <p:nvPr>
            <p:ph type="sldNum" sz="quarter" idx="10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7385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22E9E5B-6F1E-4B03-B368-998A878A53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5D92613D-D4B9-2254-3E52-75D313EBA4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Picture Placeholder 45">
            <a:extLst>
              <a:ext uri="{FF2B5EF4-FFF2-40B4-BE49-F238E27FC236}">
                <a16:creationId xmlns:a16="http://schemas.microsoft.com/office/drawing/2014/main" id="{8938A562-B105-D3B7-0EB3-4C682C854F2F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570779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3517978-FF4C-1A59-0E5F-5086370E000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4570779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764000"/>
            <a:ext cx="4570779" cy="4356000"/>
          </a:xfrm>
        </p:spPr>
        <p:txBody>
          <a:bodyPr anchor="b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07E24-E5D8-42CD-90FA-C443808E40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94224-8F77-42E8-A2DC-E8EA002DD7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0645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A5C8FC62-8A3C-A84A-17BC-4A384CDB0FA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F1A12E2-ECD6-C4D1-2A88-A15C9AADF1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768288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F4D02799-279A-21F8-37EF-B90AFFDBBB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9" name="Picture Placeholder 13">
            <a:extLst>
              <a:ext uri="{FF2B5EF4-FFF2-40B4-BE49-F238E27FC236}">
                <a16:creationId xmlns:a16="http://schemas.microsoft.com/office/drawing/2014/main" id="{DD792FFF-BB7E-B051-7BD5-744D0675AD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A77B3EE6-57AB-23B0-48B3-EC706952D2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id="{E3435057-7242-8A11-EFB8-50331B8144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15">
            <a:extLst>
              <a:ext uri="{FF2B5EF4-FFF2-40B4-BE49-F238E27FC236}">
                <a16:creationId xmlns:a16="http://schemas.microsoft.com/office/drawing/2014/main" id="{E9576A22-6010-2FF0-CF01-D3C959A9642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21">
            <a:extLst>
              <a:ext uri="{FF2B5EF4-FFF2-40B4-BE49-F238E27FC236}">
                <a16:creationId xmlns:a16="http://schemas.microsoft.com/office/drawing/2014/main" id="{DE52E6BB-A171-CFAE-5982-8E2C2D0E919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0614E32-9FC2-097F-BE81-5819325DFCE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5" name="Text Placeholder 23">
            <a:extLst>
              <a:ext uri="{FF2B5EF4-FFF2-40B4-BE49-F238E27FC236}">
                <a16:creationId xmlns:a16="http://schemas.microsoft.com/office/drawing/2014/main" id="{3BD304F5-2582-877C-03FC-1416E905AB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C17C1F76-91E9-2EF7-94BB-1CE6900565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0BD100E9-5532-0CDB-EE8E-CDCF580487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369CD10F-055C-E941-F6E3-C03C969C15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175895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7D889F20-6FB6-03EF-9E67-A20C62C9BA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777536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EF3E7AF8-2865-42FB-1302-E33C88BEB2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1" name="Text Placeholder 39">
            <a:extLst>
              <a:ext uri="{FF2B5EF4-FFF2-40B4-BE49-F238E27FC236}">
                <a16:creationId xmlns:a16="http://schemas.microsoft.com/office/drawing/2014/main" id="{93232003-3FBD-D55E-EB1B-210F53BA740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2" name="Text Placeholder 41">
            <a:extLst>
              <a:ext uri="{FF2B5EF4-FFF2-40B4-BE49-F238E27FC236}">
                <a16:creationId xmlns:a16="http://schemas.microsoft.com/office/drawing/2014/main" id="{A8BFB2EE-1EE5-D23F-CB10-52405CB55C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14B866C-BD0C-B645-BBD7-21AFDF74324C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/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5122800"/>
            <a:ext cx="2874296" cy="9972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Press ENTER then TAB to view next text style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55A91BD2-7E49-C0B4-94B7-11A23F160291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CDC628C0-9BB7-C9E3-3A4E-7D837B05AD31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426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EE0E2BD-48D1-4D47-8342-791206DBA9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764000"/>
            <a:ext cx="3944053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4241" y="360000"/>
            <a:ext cx="3584853" cy="471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1358" y="3578400"/>
            <a:ext cx="3583866" cy="2188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3583866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EBDE00-5963-85A6-2E80-F6F4E7A6EA0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3583866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5679" y="6073200"/>
            <a:ext cx="2778778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4335" y="4846404"/>
            <a:ext cx="2780673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33654" y="5530245"/>
            <a:ext cx="2776756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688CCA-09B2-4E65-A717-E5EA6ED5CC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9E7C01-DC5F-4CBE-B02A-7E633A2166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63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1C074F6-B33E-4F9F-B11A-8BF68E4EA7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34E8A825-2C85-42D1-AA58-57656F0AE8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764000"/>
            <a:ext cx="4931755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94756" y="1764000"/>
            <a:ext cx="3582403" cy="268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0160" y="3816000"/>
            <a:ext cx="2597640" cy="268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3923D3-5812-6239-AE30-CA88436BD92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851843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1586" y="6072539"/>
            <a:ext cx="2769222" cy="43200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2398" y="4210890"/>
            <a:ext cx="2778960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7094" y="3625410"/>
            <a:ext cx="1793317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832DB0-A72E-412E-8EC1-4208F43322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6E5EE9D-D9BB-418C-8376-A34AA9C1AAF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724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8A03455-1886-482F-B215-D0F51809F0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A487D1F4-8FC5-40AA-90FF-BB1E8D5373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764000"/>
            <a:ext cx="2598503" cy="2736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7652" y="2520000"/>
            <a:ext cx="3586806" cy="273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0"/>
            <a:ext cx="4933343" cy="685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DC7CB40-31F6-A6B6-65EA-6E2421868EF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056" y="4270242"/>
            <a:ext cx="2262753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7745" y="2340800"/>
            <a:ext cx="2780911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955" y="6073200"/>
            <a:ext cx="2778957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18F46-B5A1-40D3-9A0A-B3E56A56201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2A824F9-FD00-457E-828C-398CD5D86A1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07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4B30BE3-926B-4867-95CC-C7920E0C2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2689200"/>
            <a:ext cx="2959053" cy="4168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2689200"/>
            <a:ext cx="3584754" cy="2332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6138862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85E3043-5317-6424-A94A-A4824FC5BA2F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2502371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795186"/>
            <a:ext cx="2777634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31755" y="6073200"/>
            <a:ext cx="2150756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BEEBFC-DD8A-4AD3-9877-1A3F23E5ED7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1ABCEB-3EA0-49D2-B4E9-59C01B8EDC8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875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335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73C0342-9ADB-4D4B-AF32-66CA841A1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4086000"/>
            <a:ext cx="2959053" cy="277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1764000"/>
            <a:ext cx="3584754" cy="334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4753224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6544271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A9FEC6E-BE23-13CE-DD69-5A24F18C2FB0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3796132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987932"/>
            <a:ext cx="1790921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6427" y="4987933"/>
            <a:ext cx="1790922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38F88-05DA-4D0F-85C2-7B464B507DC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345314" y="6315616"/>
            <a:ext cx="1613740" cy="180000"/>
          </a:xfrm>
        </p:spPr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9997AE7-A864-4BB1-8F0A-6C4A0293F1A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728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">
    <p:bg>
      <p:bgPr>
        <a:solidFill>
          <a:srgbClr val="DBD4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89372E2-3CC5-4776-9171-F91D4E0F00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8130B635-30E9-4563-BAC9-AA40416C14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DBD4AA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981031" cy="266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331663" y="1296000"/>
            <a:ext cx="1981031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780000"/>
            <a:ext cx="3945404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5954" y="4536000"/>
            <a:ext cx="2598504" cy="196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94756" y="1998000"/>
            <a:ext cx="2595801" cy="21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65008" y="360000"/>
            <a:ext cx="2601678" cy="129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51358" y="1998000"/>
            <a:ext cx="3946992" cy="48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F16-8AB3-4A99-B458-6AFCAEB322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188" y="2770095"/>
            <a:ext cx="1431443" cy="595905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542A18-E35A-4959-9BCA-38191C8A5F8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1662" y="5951726"/>
            <a:ext cx="1613741" cy="363891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F4C81B5-0E40-4CBF-BB82-FA3112DCA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5" y="358775"/>
            <a:ext cx="1613740" cy="855506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0658A2-871D-4640-A779-B131EE465D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92306" y="1486425"/>
            <a:ext cx="1612152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E9462B7-B185-46B5-8C68-132F89815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85949" y="5951726"/>
            <a:ext cx="804609" cy="5515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550DBD-212F-4FF4-967D-B1BD382689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00634" y="358775"/>
            <a:ext cx="1785314" cy="432000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403082B-8D65-4142-BB8D-4D74D07167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4060" y="1616928"/>
            <a:ext cx="1613740" cy="301497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CA1A1-22EC-43BD-A4F5-3C91F945E8A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72FF57-81FA-4EC5-BE10-F87B98FC8D0B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2544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w. text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918800"/>
            <a:ext cx="3220076" cy="4078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02152" y="0"/>
            <a:ext cx="1624446" cy="2163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805263" y="0"/>
            <a:ext cx="4113341" cy="304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4232203" y="3114000"/>
            <a:ext cx="1786530" cy="1807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6B2E8A5C-FE7B-359E-81ED-21D3337570B1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6674274" y="4320000"/>
            <a:ext cx="3374957" cy="253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844522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844522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364400"/>
            <a:ext cx="1971476" cy="4320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224060" y="5889600"/>
            <a:ext cx="1613640" cy="8568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229200"/>
            <a:ext cx="1972702" cy="576000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2089B-BD03-644A-60BD-04310CC8A944}"/>
              </a:ext>
            </a:extLst>
          </p:cNvPr>
          <p:cNvSpPr>
            <a:spLocks noGrp="1"/>
          </p:cNvSpPr>
          <p:nvPr>
            <p:ph type="ftr" sz="quarter" idx="9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6D9CF-8C52-3521-18A2-14114F49FD31}"/>
              </a:ext>
            </a:extLst>
          </p:cNvPr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61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D01AFF7-5FA2-4444-8FED-935918450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A6EF560F-470F-466E-860C-B64C432C5E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2F1F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6537403" cy="5796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238809" y="3600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Press ENTER then TAB to view next text style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8809" y="33732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F151-F887-446A-BDB1-E70C4544F0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3671-8D18-4C4F-94F1-D57CA37BE1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9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84B9691-4D2C-446F-BF9D-B76FC0274C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5E2E1AE4-F854-40BF-9784-DF7DFD916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0808" y="360000"/>
            <a:ext cx="3944053" cy="27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5148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31735" y="3420000"/>
            <a:ext cx="2586371" cy="23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695239E-96E4-8F24-180F-240795B0E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802" y="2822037"/>
            <a:ext cx="2779647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9066D-EE07-4156-AD43-52A047B035B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2914B-BD88-49C7-9C7F-8BA2AA1ED7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515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Pr>
        <a:solidFill>
          <a:srgbClr val="ECE8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D0DFDB0-5500-422C-A7A9-C1B80C46FB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D2E0EEEA-3407-4641-A4AB-4E89B3D363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4931755" cy="6858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1358" y="360637"/>
            <a:ext cx="3586441" cy="5320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1"/>
            <a:ext cx="4214194" cy="1229119"/>
          </a:xfr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D7C7530-9D20-25CC-CFAB-5C7969B357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2386" y="6073200"/>
            <a:ext cx="1792072" cy="432000"/>
          </a:xfrm>
        </p:spPr>
        <p:txBody>
          <a:bodyPr anchor="b" anchorCtr="0"/>
          <a:lstStyle>
            <a:lvl1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778169-DC79-1C47-B8D0-E50ADF4CEC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1987" y="5445999"/>
            <a:ext cx="1792073" cy="432000"/>
          </a:xfrm>
        </p:spPr>
        <p:txBody>
          <a:bodyPr anchor="t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D834F-B869-4B01-BC3B-AD99B2C83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5F185-5AB2-49B5-86FC-C2D8B46DB7B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90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D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AA15CFC-BDC3-4978-AD4B-F03322276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29089519-7599-4136-B4A5-1FAF7FAC9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1181" y="0"/>
            <a:ext cx="6087169" cy="6858000"/>
          </a:xfrm>
          <a:solidFill>
            <a:schemeClr val="tx1">
              <a:lumMod val="75000"/>
            </a:schemeClr>
          </a:solidFill>
        </p:spPr>
        <p:txBody>
          <a:bodyPr lIns="0" tIns="0" bIns="72000" anchor="b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3583866" cy="190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75E9C3E-785A-4E0A-A170-AD1A52C1F2B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86398" y="4860000"/>
            <a:ext cx="2917519" cy="163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7356" y="360000"/>
            <a:ext cx="3421781" cy="3960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2CB135-C014-0010-D6F0-7B78E44E2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665763"/>
            <a:ext cx="1971476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13DD4B-B99C-732E-EDFD-D5B5430DA8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6492" y="4683967"/>
            <a:ext cx="1965263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9B1785-0A11-4D40-98BD-1585C2C3C28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345314" y="6315616"/>
            <a:ext cx="144108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FA235-2B84-4F20-9EC3-3CCD8C3B14F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1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E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3060000"/>
          </a:xfrm>
        </p:spPr>
        <p:txBody>
          <a:bodyPr/>
          <a:lstStyle>
            <a:lvl1pPr>
              <a:defRPr sz="4800"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56037-223D-4AB6-9059-CCFD057AC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5314" y="1080000"/>
            <a:ext cx="5564284" cy="4698000"/>
          </a:xfrm>
        </p:spPr>
        <p:txBody>
          <a:bodyPr anchor="b"/>
          <a:lstStyle>
            <a:lvl1pPr marL="0" indent="0" algn="r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EFC67-F023-4686-A2C3-4063332223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5787" y="360000"/>
            <a:ext cx="4562013" cy="3474000"/>
          </a:xfrm>
        </p:spPr>
        <p:txBody>
          <a:bodyPr anchor="b"/>
          <a:lstStyle>
            <a:lvl1pPr marL="0" indent="0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9602" y="1170000"/>
            <a:ext cx="2605482" cy="2353593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37D0F49-8C55-4D74-B551-833FFE8CC4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809" y="3381704"/>
            <a:ext cx="2178084" cy="2288297"/>
          </a:xfrm>
        </p:spPr>
        <p:txBody>
          <a:bodyPr anchor="t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8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F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96684AF2-6144-5C9C-7263-B12DEB799C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511C6D6-F560-5D72-5F0B-764185440A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767600"/>
            <a:ext cx="3792774" cy="50904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33716" y="781200"/>
            <a:ext cx="2211551" cy="308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8614484" y="0"/>
            <a:ext cx="3583866" cy="3430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6757117" y="4838400"/>
            <a:ext cx="2020652" cy="201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C5DBF3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C5DBF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3716" y="3981600"/>
            <a:ext cx="1619429" cy="723964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975873" y="5810400"/>
            <a:ext cx="1875576" cy="939721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502800"/>
            <a:ext cx="2186775" cy="58631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304A936-9963-1C8B-4DD8-6212031798C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918840" y="6174770"/>
            <a:ext cx="1790132" cy="53563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17215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1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346400"/>
            <a:ext cx="5478452" cy="416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149722" y="0"/>
            <a:ext cx="5060634" cy="685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CE8DD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1304" y="4608000"/>
            <a:ext cx="3342540" cy="142560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748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5095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2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386000"/>
            <a:ext cx="3771163" cy="511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899992" y="3621600"/>
            <a:ext cx="5298358" cy="3236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719778" y="0"/>
            <a:ext cx="1602834" cy="1915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5919695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5919695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955" y="5065160"/>
            <a:ext cx="1972702" cy="143284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65099" y="2065106"/>
            <a:ext cx="2139951" cy="1293694"/>
          </a:xfrm>
        </p:spPr>
        <p:txBody>
          <a:bodyPr anchor="b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54598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3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616400"/>
            <a:ext cx="3940451" cy="525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136636" y="0"/>
            <a:ext cx="4062915" cy="5097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40068" y="2044800"/>
            <a:ext cx="2150319" cy="2221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9735" y="4032299"/>
            <a:ext cx="1916198" cy="852092"/>
          </a:xfrm>
        </p:spPr>
        <p:txBody>
          <a:bodyPr anchor="t" anchorCtr="0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46674" y="5178176"/>
            <a:ext cx="2258376" cy="86982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2822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4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2DB75723-9354-DD92-509D-F941AE3A81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3B36EBCA-F119-38B8-DE50-984C094D95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51AE55D7-0342-2126-55CA-F9BBE902AE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414800"/>
            <a:ext cx="3825191" cy="507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1661" y="0"/>
            <a:ext cx="4405093" cy="579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4932118" cy="842199"/>
          </a:xfrm>
        </p:spPr>
        <p:txBody>
          <a:bodyPr/>
          <a:lstStyle>
            <a:lvl1pPr>
              <a:defRPr>
                <a:solidFill>
                  <a:srgbClr val="E5F5E4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932118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5F5E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3056" y="5383794"/>
            <a:ext cx="2153921" cy="1141006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rgbClr val="B7C5C5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49037-323A-735D-20AA-22A4AC9972A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680157" y="1079771"/>
            <a:ext cx="3184058" cy="136463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341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5">
    <p:bg>
      <p:bgPr>
        <a:solidFill>
          <a:srgbClr val="143E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2667600"/>
            <a:ext cx="5726981" cy="4201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23862" y="4410000"/>
            <a:ext cx="2474488" cy="244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566218" y="226800"/>
            <a:ext cx="3364151" cy="349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66218" y="3819600"/>
            <a:ext cx="1901790" cy="8172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4790" y="5713200"/>
            <a:ext cx="1901790" cy="975276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082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quote ">
    <p:bg>
      <p:bgPr>
        <a:solidFill>
          <a:srgbClr val="FCF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FCF1C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810800"/>
            <a:ext cx="3699126" cy="468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858332" y="4694400"/>
            <a:ext cx="1624446" cy="21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12105" y="0"/>
            <a:ext cx="4595993" cy="345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8518434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6227" y="4119327"/>
            <a:ext cx="3832395" cy="1956922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​"/>
              <a:defRPr sz="1800" b="0" i="0">
                <a:solidFill>
                  <a:schemeClr val="tx1"/>
                </a:solidFill>
                <a:latin typeface="+mj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 baseline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“Click to add quote                                        </a:t>
            </a:r>
            <a:r>
              <a:rPr lang="en-GB" noProof="0" dirty="0"/>
              <a:t>Press ENTER then TAB to name text style”</a:t>
            </a:r>
            <a:endParaRPr lang="en-GB" dirty="0"/>
          </a:p>
          <a:p>
            <a:pPr lvl="1"/>
            <a:r>
              <a:rPr lang="en-GB" dirty="0"/>
              <a:t>Name</a:t>
            </a:r>
          </a:p>
          <a:p>
            <a:pPr lvl="2"/>
            <a:r>
              <a:rPr lang="en-GB" dirty="0"/>
              <a:t>3a</a:t>
            </a:r>
          </a:p>
          <a:p>
            <a:pPr lvl="3"/>
            <a:r>
              <a:rPr lang="en-GB" dirty="0"/>
              <a:t>4b</a:t>
            </a:r>
          </a:p>
          <a:p>
            <a:pPr lvl="4"/>
            <a:r>
              <a:rPr lang="en-GB" dirty="0"/>
              <a:t>5c</a:t>
            </a:r>
          </a:p>
          <a:p>
            <a:pPr lvl="5"/>
            <a:r>
              <a:rPr lang="en-GB" dirty="0"/>
              <a:t>6d</a:t>
            </a:r>
          </a:p>
          <a:p>
            <a:pPr lvl="6"/>
            <a:r>
              <a:rPr lang="en-GB" dirty="0"/>
              <a:t>7e</a:t>
            </a:r>
          </a:p>
          <a:p>
            <a:pPr lvl="7"/>
            <a:r>
              <a:rPr lang="en-GB" dirty="0"/>
              <a:t>8f</a:t>
            </a:r>
          </a:p>
          <a:p>
            <a:pPr lvl="8"/>
            <a:r>
              <a:rPr lang="en-GB" dirty="0"/>
              <a:t>9g</a:t>
            </a:r>
          </a:p>
        </p:txBody>
      </p:sp>
    </p:spTree>
    <p:extLst>
      <p:ext uri="{BB962C8B-B14F-4D97-AF65-F5344CB8AC3E}">
        <p14:creationId xmlns:p14="http://schemas.microsoft.com/office/powerpoint/2010/main" val="12293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 hidden="1">
            <a:extLst>
              <a:ext uri="{FF2B5EF4-FFF2-40B4-BE49-F238E27FC236}">
                <a16:creationId xmlns:a16="http://schemas.microsoft.com/office/drawing/2014/main" id="{3F645BB1-F7BC-BB17-3315-E31D3C1385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16F9C462-F3DF-A1A8-990C-815F03A08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28C081-23D3-FFEB-A9A3-1C52685D81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5A187E53-6373-462D-A58E-8E70EF3E65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2AFF5-A966-C48A-D023-1A8FBE740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2598866" cy="1624443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10878EB-43AE-13AC-6260-6F34E72C6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89358"/>
            <a:ext cx="2600554" cy="208280"/>
          </a:xfrm>
        </p:spPr>
        <p:txBody>
          <a:bodyPr bIns="25200"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ED2E7D5-ADA6-A019-14FA-E01BE8D0C77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17327" y="358775"/>
            <a:ext cx="4181777" cy="2988000"/>
          </a:xfrm>
          <a:solidFill>
            <a:srgbClr val="C5DBF3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CCD0EAC-B194-C809-4A16-F1930E1F846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56023" y="358775"/>
            <a:ext cx="4181777" cy="2988000"/>
          </a:xfrm>
          <a:solidFill>
            <a:srgbClr val="3C0E18"/>
          </a:solidFill>
        </p:spPr>
        <p:txBody>
          <a:bodyPr lIns="828000" bIns="360000" anchor="b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0E96DE1B-7A09-5BD1-66D1-241366F4A0F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17327" y="3510130"/>
            <a:ext cx="4181777" cy="2988000"/>
          </a:xfrm>
          <a:solidFill>
            <a:srgbClr val="5B4A14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>
                <a:solidFill>
                  <a:schemeClr val="bg1"/>
                </a:solidFill>
              </a:defRPr>
            </a:lvl1pPr>
            <a:lvl2pPr>
              <a:defRPr lang="en-GB" sz="1400" dirty="0" smtClean="0">
                <a:solidFill>
                  <a:schemeClr val="bg1"/>
                </a:solidFill>
              </a:defRPr>
            </a:lvl2pPr>
            <a:lvl3pPr>
              <a:defRPr lang="en-GB" sz="1400" dirty="0" smtClean="0">
                <a:solidFill>
                  <a:schemeClr val="bg1"/>
                </a:solidFill>
              </a:defRPr>
            </a:lvl3pPr>
            <a:lvl4pPr>
              <a:defRPr lang="en-GB" sz="1400" dirty="0" smtClean="0">
                <a:solidFill>
                  <a:schemeClr val="bg1"/>
                </a:solidFill>
              </a:defRPr>
            </a:lvl4pPr>
            <a:lvl5pPr>
              <a:defRPr lang="en-GB" sz="1400" dirty="0" smtClean="0">
                <a:solidFill>
                  <a:schemeClr val="bg1"/>
                </a:solidFill>
              </a:defRPr>
            </a:lvl5pPr>
            <a:lvl6pPr>
              <a:defRPr lang="en-GB" dirty="0" smtClean="0">
                <a:solidFill>
                  <a:schemeClr val="bg1"/>
                </a:solidFill>
              </a:defRPr>
            </a:lvl6pPr>
            <a:lvl7pPr>
              <a:defRPr lang="en-GB" dirty="0" smtClean="0">
                <a:solidFill>
                  <a:schemeClr val="bg1"/>
                </a:solidFill>
              </a:defRPr>
            </a:lvl7pPr>
            <a:lvl8pPr>
              <a:defRPr lang="en-GB" dirty="0" smtClean="0">
                <a:solidFill>
                  <a:schemeClr val="bg1"/>
                </a:solidFill>
              </a:defRPr>
            </a:lvl8pPr>
            <a:lvl9pPr>
              <a:buNone/>
              <a:defRPr lang="en-GB" dirty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365418F-BB7D-8819-A37C-A441BA66F9F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656023" y="3510130"/>
            <a:ext cx="4181777" cy="2988000"/>
          </a:xfrm>
          <a:solidFill>
            <a:srgbClr val="B7D692"/>
          </a:solidFill>
        </p:spPr>
        <p:txBody>
          <a:bodyPr lIns="828000" bIns="360000" anchor="b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9156F2C-0E12-AFC2-077B-760287DA151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317327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CAE9EB38-A6BD-7113-157B-5AB1BDBD794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 bwMode="white">
          <a:xfrm>
            <a:off x="7656024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8105562-CE9A-74BD-BC20-6B979FF210B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656024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400F45B-E43C-B0D2-511C-5A75D036B6A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 bwMode="white">
          <a:xfrm>
            <a:off x="3317327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355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97686D5C-73D9-6783-D6BC-04EC18E1DB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6961" y="1814400"/>
            <a:ext cx="3047186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97015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6988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76961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586988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097015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076961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586988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97015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756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73A4715C-4F45-6A81-7A8A-3622AA7DE2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181" y="1814400"/>
            <a:ext cx="2452877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32096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29837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130753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31181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529837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332096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130753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31181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529837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32096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3D45A4-2D15-24F9-B248-56805C2D2B6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130753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422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7F14ED4-77D8-143A-D9E6-07A2C362B1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530000"/>
            <a:ext cx="2452877" cy="3016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500" y="1530000"/>
            <a:ext cx="2809463" cy="3744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94523" y="1530000"/>
            <a:ext cx="2917519" cy="219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384421" y="1530000"/>
            <a:ext cx="2452877" cy="3016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60187" y="4555672"/>
            <a:ext cx="2452877" cy="844773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094523" y="3732265"/>
            <a:ext cx="2917519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93500" y="5280666"/>
            <a:ext cx="2809463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384421" y="4556766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208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3DE2716-4190-54F5-31BA-926F65FE4990}"/>
              </a:ext>
            </a:extLst>
          </p:cNvPr>
          <p:cNvSpPr>
            <a:spLocks/>
          </p:cNvSpPr>
          <p:nvPr userDrawn="1"/>
        </p:nvSpPr>
        <p:spPr>
          <a:xfrm>
            <a:off x="266948" y="1760403"/>
            <a:ext cx="11789814" cy="4830316"/>
          </a:xfrm>
          <a:prstGeom prst="rect">
            <a:avLst/>
          </a:prstGeom>
          <a:solidFill>
            <a:srgbClr val="C5D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 anchorCtr="0"/>
          <a:lstStyle/>
          <a:p>
            <a:endParaRPr lang="en-GB" sz="1100" dirty="0">
              <a:solidFill>
                <a:schemeClr val="tx1"/>
              </a:solidFill>
              <a:latin typeface="Euclid Flex" panose="020B0500030000000000" pitchFamily="34" charset="0"/>
            </a:endParaRPr>
          </a:p>
        </p:txBody>
      </p:sp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4" name="Footer Placeholder 4" hidden="1">
            <a:extLst>
              <a:ext uri="{FF2B5EF4-FFF2-40B4-BE49-F238E27FC236}">
                <a16:creationId xmlns:a16="http://schemas.microsoft.com/office/drawing/2014/main" id="{9BE14E54-2536-AA10-A0E9-2955336F43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6" name="Slide Number Placeholder 5" hidden="1">
            <a:extLst>
              <a:ext uri="{FF2B5EF4-FFF2-40B4-BE49-F238E27FC236}">
                <a16:creationId xmlns:a16="http://schemas.microsoft.com/office/drawing/2014/main" id="{CD6ECCDC-9E5B-8970-BCD8-30255E1597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FB1D63-07C0-38DB-A193-84DE99366D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6694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1D5E3B0-F8C1-96F1-D115-0461FAE7995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65921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694AC8F-CBB8-9CB4-D4CF-2362F5B6A5BE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504898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AE89405C-BD8C-CB4D-CF2D-D65543618B5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44186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23841110-9092-4DE2-159F-5B789EC3D593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831535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66948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657777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048606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CFB0EFD-C3A0-212A-90C0-15F73F59AC2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39435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988EE986-1BAA-81A1-8CAF-F3C82A363F9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9830264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31" name="Arrow 1">
            <a:extLst>
              <a:ext uri="{FF2B5EF4-FFF2-40B4-BE49-F238E27FC236}">
                <a16:creationId xmlns:a16="http://schemas.microsoft.com/office/drawing/2014/main" id="{72572C1F-CA1A-3F5A-D1B1-89B6F5653BDA}"/>
              </a:ext>
            </a:extLst>
          </p:cNvPr>
          <p:cNvSpPr>
            <a:spLocks noGrp="1" noChangeAspect="1"/>
          </p:cNvSpPr>
          <p:nvPr>
            <p:ph type="body" sz="quarter" idx="110" hasCustomPrompt="1"/>
          </p:nvPr>
        </p:nvSpPr>
        <p:spPr>
          <a:xfrm>
            <a:off x="1901457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8" name="Arrow 2">
            <a:extLst>
              <a:ext uri="{FF2B5EF4-FFF2-40B4-BE49-F238E27FC236}">
                <a16:creationId xmlns:a16="http://schemas.microsoft.com/office/drawing/2014/main" id="{56C87872-F9B2-3C96-9D18-A85130093A72}"/>
              </a:ext>
            </a:extLst>
          </p:cNvPr>
          <p:cNvSpPr>
            <a:spLocks noGrp="1" noChangeAspect="1"/>
          </p:cNvSpPr>
          <p:nvPr>
            <p:ph type="body" sz="quarter" idx="112" hasCustomPrompt="1"/>
          </p:nvPr>
        </p:nvSpPr>
        <p:spPr>
          <a:xfrm>
            <a:off x="4292540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0" name="Arrow 3">
            <a:extLst>
              <a:ext uri="{FF2B5EF4-FFF2-40B4-BE49-F238E27FC236}">
                <a16:creationId xmlns:a16="http://schemas.microsoft.com/office/drawing/2014/main" id="{B7443FED-C0FE-3CD1-A295-C12230508D7F}"/>
              </a:ext>
            </a:extLst>
          </p:cNvPr>
          <p:cNvSpPr>
            <a:spLocks noGrp="1" noChangeAspect="1"/>
          </p:cNvSpPr>
          <p:nvPr>
            <p:ph type="body" sz="quarter" idx="114" hasCustomPrompt="1"/>
          </p:nvPr>
        </p:nvSpPr>
        <p:spPr>
          <a:xfrm>
            <a:off x="6683624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Arrow 4">
            <a:extLst>
              <a:ext uri="{FF2B5EF4-FFF2-40B4-BE49-F238E27FC236}">
                <a16:creationId xmlns:a16="http://schemas.microsoft.com/office/drawing/2014/main" id="{C5E0896A-E69D-E7A5-506C-555E57DDB71C}"/>
              </a:ext>
            </a:extLst>
          </p:cNvPr>
          <p:cNvSpPr>
            <a:spLocks noGrp="1" noChangeAspect="1"/>
          </p:cNvSpPr>
          <p:nvPr>
            <p:ph type="body" sz="quarter" idx="116" hasCustomPrompt="1"/>
          </p:nvPr>
        </p:nvSpPr>
        <p:spPr>
          <a:xfrm>
            <a:off x="9074708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9" name="Arrow 5">
            <a:extLst>
              <a:ext uri="{FF2B5EF4-FFF2-40B4-BE49-F238E27FC236}">
                <a16:creationId xmlns:a16="http://schemas.microsoft.com/office/drawing/2014/main" id="{9DA9D448-D148-4785-47AB-5CA19231C82B}"/>
              </a:ext>
            </a:extLst>
          </p:cNvPr>
          <p:cNvSpPr>
            <a:spLocks noGrp="1" noChangeAspect="1"/>
          </p:cNvSpPr>
          <p:nvPr>
            <p:ph type="body" sz="quarter" idx="118" hasCustomPrompt="1"/>
          </p:nvPr>
        </p:nvSpPr>
        <p:spPr>
          <a:xfrm>
            <a:off x="11465792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6724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2657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3583866" cy="36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51458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4466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304466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51458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51B953D-45D0-39A9-54AF-68923D7640C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5131837"/>
            <a:ext cx="3586904" cy="1366163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2642105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2593350" cy="259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926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19728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33A5B6B-6CFA-D154-76D5-CE9D03183DA6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23880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319728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27926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A9C0971-F8C4-868A-CDDD-2D34FF56CBC5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3880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3227EB3-A57D-DD04-CDC7-1F4B9BBBF05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7709" y="4222800"/>
            <a:ext cx="2600554" cy="2275200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494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66353B-DFD2-4424-9B1E-869E442472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4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DB3A8760-8DA6-8B9C-EA61-B9B74F7EB81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B42F89-A6D2-825B-285E-0EA4A24A6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926D94-98B2-AE2F-51B1-7F9EDAF8B2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3640" cy="162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7843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6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1359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222021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8962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331664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07843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78656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251359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0222021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7843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326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5299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2021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960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3166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7843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233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51358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2021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7">
            <a:extLst>
              <a:ext uri="{FF2B5EF4-FFF2-40B4-BE49-F238E27FC236}">
                <a16:creationId xmlns:a16="http://schemas.microsoft.com/office/drawing/2014/main" id="{3B0E52E7-1FB9-E6CA-23DB-810248F5175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7890808" y="5387009"/>
            <a:ext cx="3946992" cy="1110629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69D7FF2-C16F-4A1D-A5CB-EBB461E3665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544C94-0047-40A7-9AEA-67D4455C46A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80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42E70D2-2F18-459F-B7C2-8B02038BB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5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CE93D195-2F87-77B0-9824-ED26ED4BC3C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93136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0378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93136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41037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6018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77430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558653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175895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793136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841037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5895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93136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10378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012332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93136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0378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18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7430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58653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75895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93136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037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87">
            <a:extLst>
              <a:ext uri="{FF2B5EF4-FFF2-40B4-BE49-F238E27FC236}">
                <a16:creationId xmlns:a16="http://schemas.microsoft.com/office/drawing/2014/main" id="{81AD4008-3F42-FDF3-C426-7EA848743D4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224061" y="4780722"/>
            <a:ext cx="1613739" cy="1716916"/>
          </a:xfrm>
        </p:spPr>
        <p:txBody>
          <a:bodyPr anchor="b" anchorCtr="0"/>
          <a:lstStyle>
            <a:lvl1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2pPr>
            <a:lvl3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3pPr>
            <a:lvl4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4pPr>
            <a:lvl5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5pPr>
            <a:lvl6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6pPr>
            <a:lvl7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7pPr>
            <a:lvl8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8pPr>
            <a:lvl9pPr marL="0" algn="r">
              <a:defRPr sz="10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9950FDF-8CAA-4A40-A3B2-20B8E6D24A1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3AEC48D-7D04-471B-B27A-0484DC18DDE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3166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ate Placeholder 2" hidden="1">
            <a:extLst>
              <a:ext uri="{FF2B5EF4-FFF2-40B4-BE49-F238E27FC236}">
                <a16:creationId xmlns:a16="http://schemas.microsoft.com/office/drawing/2014/main" id="{3C128F33-14E0-B088-3C71-53BDBF6339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1" name="Footer Placeholder 4" hidden="1">
            <a:extLst>
              <a:ext uri="{FF2B5EF4-FFF2-40B4-BE49-F238E27FC236}">
                <a16:creationId xmlns:a16="http://schemas.microsoft.com/office/drawing/2014/main" id="{7C09FFBB-2F3D-F6A5-8E8D-16F9B4A198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82" name="Slide Number Placeholder 5" hidden="1">
            <a:extLst>
              <a:ext uri="{FF2B5EF4-FFF2-40B4-BE49-F238E27FC236}">
                <a16:creationId xmlns:a16="http://schemas.microsoft.com/office/drawing/2014/main" id="{67DDBD35-A4CE-1F86-5749-4F8E3A8B7F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1635E464-5EF7-EE1D-6472-4E3B73A9790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FADE9EB5-5558-18A7-4E6A-9B0CE4952AC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678836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E52D76F3-FA3E-F6FB-9152-D71C0843357B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75939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A10970-076E-64B5-554C-598478C23DA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861572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21">
            <a:extLst>
              <a:ext uri="{FF2B5EF4-FFF2-40B4-BE49-F238E27FC236}">
                <a16:creationId xmlns:a16="http://schemas.microsoft.com/office/drawing/2014/main" id="{F7C28511-B3D8-D717-F6DE-E3B91D87C75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6018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378F13C0-B92D-9F70-A9D2-78CA83F7DF9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143714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11">
            <a:extLst>
              <a:ext uri="{FF2B5EF4-FFF2-40B4-BE49-F238E27FC236}">
                <a16:creationId xmlns:a16="http://schemas.microsoft.com/office/drawing/2014/main" id="{169B1178-A4ED-E16F-4569-C875AF4E487F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2514109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19">
            <a:extLst>
              <a:ext uri="{FF2B5EF4-FFF2-40B4-BE49-F238E27FC236}">
                <a16:creationId xmlns:a16="http://schemas.microsoft.com/office/drawing/2014/main" id="{285FD946-A346-12FA-88C7-5C79858C518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598273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1499496D-3091-2206-27D1-709A6BB7889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678836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0" name="Picture Placeholder 11">
            <a:extLst>
              <a:ext uri="{FF2B5EF4-FFF2-40B4-BE49-F238E27FC236}">
                <a16:creationId xmlns:a16="http://schemas.microsoft.com/office/drawing/2014/main" id="{F7F1AAF3-136F-7ABD-39BE-32E98634D56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75939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1" name="Picture Placeholder 19">
            <a:extLst>
              <a:ext uri="{FF2B5EF4-FFF2-40B4-BE49-F238E27FC236}">
                <a16:creationId xmlns:a16="http://schemas.microsoft.com/office/drawing/2014/main" id="{FC639898-3289-5BAD-5A90-90A8555658F0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861572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5" name="Picture Placeholder 21">
            <a:extLst>
              <a:ext uri="{FF2B5EF4-FFF2-40B4-BE49-F238E27FC236}">
                <a16:creationId xmlns:a16="http://schemas.microsoft.com/office/drawing/2014/main" id="{764B6CFC-C8DF-82AD-261F-52EBA3EA416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6018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0F246C70-7EC1-32E8-DB88-C5DCDF6CDFE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43714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7" name="Picture Placeholder 11">
            <a:extLst>
              <a:ext uri="{FF2B5EF4-FFF2-40B4-BE49-F238E27FC236}">
                <a16:creationId xmlns:a16="http://schemas.microsoft.com/office/drawing/2014/main" id="{F74AECBD-8D02-EAE7-8090-B81DA79FC00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2514109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8" name="Picture Placeholder 19">
            <a:extLst>
              <a:ext uri="{FF2B5EF4-FFF2-40B4-BE49-F238E27FC236}">
                <a16:creationId xmlns:a16="http://schemas.microsoft.com/office/drawing/2014/main" id="{410D4379-4883-90D1-4BB3-C46D1A2CF112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3598273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C01CB954-FEDB-D8F6-2E76-F6FF98D2334F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678836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4" name="Picture Placeholder 11">
            <a:extLst>
              <a:ext uri="{FF2B5EF4-FFF2-40B4-BE49-F238E27FC236}">
                <a16:creationId xmlns:a16="http://schemas.microsoft.com/office/drawing/2014/main" id="{379AE0BF-C404-12C8-EDB2-38C16C679D08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75939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5" name="Picture Placeholder 19">
            <a:extLst>
              <a:ext uri="{FF2B5EF4-FFF2-40B4-BE49-F238E27FC236}">
                <a16:creationId xmlns:a16="http://schemas.microsoft.com/office/drawing/2014/main" id="{D91254CA-1369-B5A0-A807-4A38A104476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861572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27316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4375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10880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4444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778008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86157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018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43714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14109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98273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678836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5939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61572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6018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43714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514109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910800"/>
            <a:ext cx="914876" cy="831600"/>
          </a:xfrm>
          <a:solidFill>
            <a:schemeClr val="bg1"/>
          </a:solidFill>
        </p:spPr>
        <p:txBody>
          <a:bodyPr lIns="0" tIns="57600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598273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375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7316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10880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4444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800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6157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18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714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14109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98273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836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5939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61572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18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43714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14109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98273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083A4388-0528-E01B-4DB8-7B30A4AC62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8836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9" name="Text Placeholder 55">
            <a:extLst>
              <a:ext uri="{FF2B5EF4-FFF2-40B4-BE49-F238E27FC236}">
                <a16:creationId xmlns:a16="http://schemas.microsoft.com/office/drawing/2014/main" id="{4AC6EBA8-3617-9D1C-DFDC-52B62F857EB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75939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0" name="Text Placeholder 57">
            <a:extLst>
              <a:ext uri="{FF2B5EF4-FFF2-40B4-BE49-F238E27FC236}">
                <a16:creationId xmlns:a16="http://schemas.microsoft.com/office/drawing/2014/main" id="{FF6E8665-0472-04B2-48C4-3AFCA867AB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61572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E23DD107-8FE9-8B68-AF70-8A0DD8CEC1B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6018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6" name="Text Placeholder 53">
            <a:extLst>
              <a:ext uri="{FF2B5EF4-FFF2-40B4-BE49-F238E27FC236}">
                <a16:creationId xmlns:a16="http://schemas.microsoft.com/office/drawing/2014/main" id="{557CA5AE-94CC-00B6-D329-8FA897E986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43714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2058904-DFF1-EB56-D022-783189B7FAA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14109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05E6D32-49BA-B9D9-008E-62CAD14C92C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598273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2" name="Text Placeholder 53">
            <a:extLst>
              <a:ext uri="{FF2B5EF4-FFF2-40B4-BE49-F238E27FC236}">
                <a16:creationId xmlns:a16="http://schemas.microsoft.com/office/drawing/2014/main" id="{52F4EBD7-880B-E2DB-B8F4-B851B774CA3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78836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CCBA9B6-8B90-E9CA-1A6A-C4C473F9D4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5939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4B01F6AE-527D-56A4-C903-9EA49081640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61572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9" name="Text Placeholder 51">
            <a:extLst>
              <a:ext uri="{FF2B5EF4-FFF2-40B4-BE49-F238E27FC236}">
                <a16:creationId xmlns:a16="http://schemas.microsoft.com/office/drawing/2014/main" id="{EE6B74B7-6165-7B5D-1B73-437EA43C7CE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6018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364C69A9-6C4C-D58C-D086-20254B52E7A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43714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1" name="Text Placeholder 55">
            <a:extLst>
              <a:ext uri="{FF2B5EF4-FFF2-40B4-BE49-F238E27FC236}">
                <a16:creationId xmlns:a16="http://schemas.microsoft.com/office/drawing/2014/main" id="{4BE77CC7-8CF4-CF59-2328-9EBE4B72853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14109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5783C6D4-A8B0-1816-B715-519700F6E4C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598273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566295A4-C37F-960F-307E-7F80885E4CB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678836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7" name="Text Placeholder 55">
            <a:extLst>
              <a:ext uri="{FF2B5EF4-FFF2-40B4-BE49-F238E27FC236}">
                <a16:creationId xmlns:a16="http://schemas.microsoft.com/office/drawing/2014/main" id="{F09A6CBD-205C-DF1C-78C4-BF084B11A5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75939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8" name="Text Placeholder 57">
            <a:extLst>
              <a:ext uri="{FF2B5EF4-FFF2-40B4-BE49-F238E27FC236}">
                <a16:creationId xmlns:a16="http://schemas.microsoft.com/office/drawing/2014/main" id="{1A424125-2838-2B60-13D5-B2BAD86C462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861572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ACEA83A2-01BA-8AE4-C2D3-10B6CDA370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77160" y="4780722"/>
            <a:ext cx="2960640" cy="1716916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37211860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4B8E136-E117-42A9-A6F2-2470AA39F0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" name="Text Placeholder background">
            <a:extLst>
              <a:ext uri="{FF2B5EF4-FFF2-40B4-BE49-F238E27FC236}">
                <a16:creationId xmlns:a16="http://schemas.microsoft.com/office/drawing/2014/main" id="{49B3B134-22E1-EC53-EE96-2F1DA1AEE9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358776"/>
            <a:ext cx="4571568" cy="6138863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AB5AB8-2A3A-EC43-3BF2-8727B842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305" y="360000"/>
            <a:ext cx="6543456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F8C1A55-5FBE-CBAC-78EC-59311AB4A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305" y="626324"/>
            <a:ext cx="6543456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D6E9B2-1AF2-4449-B871-54E998FD43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9CC4C-6365-40AD-A887-1A7E4A902D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153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97C17C9-B9C5-47D1-9050-2FA6A12BC4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8E16EF3E-8BB6-0359-C4C3-87BDB8F545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865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5728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5189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25723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727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7865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25189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225723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C06DA1-EBA2-4DF7-A638-5294A1981C9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305727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6329C-D607-4C42-9D1E-1E788B0921A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7865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227146C-1DC7-4E6D-A60B-1529631888C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25189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2631CC-B615-4AE0-A5C0-000D2A0113E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225723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008000"/>
            <a:ext cx="3583866" cy="20052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4CE11A7-B286-4542-A784-29F43315685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0187" y="3171600"/>
            <a:ext cx="3583866" cy="33264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250783-0C4B-5757-BA56-75008FA5F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B5B867-9E06-5FA2-8FAF-9DC191575E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5728" y="5590800"/>
            <a:ext cx="1606436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5727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865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5189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5723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5727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865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5189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25723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A7BC760-8878-4DB1-881F-BC8752FB25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865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FB1784-22FE-47B7-A48D-CFAE146183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25189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6D7AE2E-1EA8-4CEF-9930-D28D8406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5723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7FF3BF3-D4DC-4BCD-8CA3-D011CD15EFA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1071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8B3DCD2-610C-49D5-ACAD-CCD6009D5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96483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F5470A3-6EBA-4E3C-B4B8-465BC1F8534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8224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25E9830-971B-4E49-9FEF-0523525F131C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726801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B9122BBF-DF04-444F-8C61-3F2AB79BEED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25377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5225CEBC-6600-4E5E-A555-AFC956A4CE8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923954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A847747F-7A75-42FD-BEC2-A8BF30F8BC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22530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983B2226-2C48-4281-8DE3-30436CACF7F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21107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C4280-9055-4D01-8685-E96AEBC615B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220486-C0CB-4641-B05B-D8D7A53F85C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78543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11B381A-1631-4B71-A09B-A4EEAB35A5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Text Placeholder background">
            <a:extLst>
              <a:ext uri="{FF2B5EF4-FFF2-40B4-BE49-F238E27FC236}">
                <a16:creationId xmlns:a16="http://schemas.microsoft.com/office/drawing/2014/main" id="{07AC3D9A-9F03-6797-7305-A169DE138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358777"/>
            <a:ext cx="10491261" cy="5278814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BE6428-EB11-4BB9-E549-50F082ECA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5743573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6E5E939-36A0-F1A1-4955-E31A12CCE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009897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19B156-1D4A-47DC-B3B4-1CCBBAA13F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48272D-C334-4330-8191-FFAD7C92BF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66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7DB31A3-D8B1-4156-B96D-21BCB01397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E62016EB-5545-4D6B-85ED-331102ED9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251358" y="360000"/>
            <a:ext cx="3586804" cy="6137638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6770F7F-EFE4-345B-95E0-A9E1839DB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7531521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E8D7483-88B0-7361-79BE-8D1AF059F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7531521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2514" cy="1620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5956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7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740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20844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5954" y="2682000"/>
            <a:ext cx="1612152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8657" y="2682000"/>
            <a:ext cx="1612151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28388" y="540000"/>
            <a:ext cx="3223678" cy="3060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F45A0-874C-4819-BA43-1B829C76055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D821679-20B4-4E27-A404-4324EF2438F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5324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CE8CDAC-C599-45B2-80E0-17BD532CB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9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CDF2ECDE-646E-4C1D-ACC1-2F8B51936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358962" y="358776"/>
            <a:ext cx="5564898" cy="5569939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272" y="360000"/>
            <a:ext cx="5564897" cy="5562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9056" y="540668"/>
            <a:ext cx="5204710" cy="286133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8ADFE0-F56C-43E5-973F-8B7523DC5CC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4033-692F-4053-BC88-BBA5954EA0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795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717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23037C1-7C4C-4F45-8C52-D9BC522463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D26C765-6258-460F-A7F9-288459D0DE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40212 h 835195"/>
              <a:gd name="connsiteY0" fmla="*/ 40212 h 835195"/>
              <a:gd name="connsiteX1" fmla="*/ 40212 h 835195"/>
              <a:gd name="connsiteY1" fmla="*/ 40212 h 835195"/>
              <a:gd name="connsiteX2" fmla="*/ 40212 h 835195"/>
              <a:gd name="connsiteY2" fmla="*/ 40212 h 835195"/>
              <a:gd name="connsiteX3" fmla="*/ 40212 h 835195"/>
              <a:gd name="connsiteY3" fmla="*/ 40212 h 835195"/>
              <a:gd name="connsiteX4" fmla="*/ 40212 h 835195"/>
              <a:gd name="connsiteY4" fmla="*/ 40212 h 835195"/>
              <a:gd name="connsiteX5" fmla="*/ 40212 h 835195"/>
              <a:gd name="connsiteY5" fmla="*/ 40212 h 835195"/>
              <a:gd name="connsiteX6" fmla="*/ 40212 h 835195"/>
              <a:gd name="connsiteY6" fmla="*/ 40212 h 835195"/>
              <a:gd name="connsiteX7" fmla="*/ 40212 h 835195"/>
              <a:gd name="connsiteY7" fmla="*/ 40212 h 835195"/>
              <a:gd name="connsiteX8" fmla="*/ 40212 h 835195"/>
              <a:gd name="connsiteY8" fmla="*/ 40212 h 835195"/>
              <a:gd name="connsiteX9" fmla="*/ 40212 h 835195"/>
              <a:gd name="connsiteY9" fmla="*/ 40212 h 835195"/>
              <a:gd name="connsiteX10" fmla="*/ 40212 h 835195"/>
              <a:gd name="connsiteY10" fmla="*/ 40212 h 835195"/>
              <a:gd name="connsiteX11" fmla="*/ 40212 h 835195"/>
              <a:gd name="connsiteY11" fmla="*/ 40212 h 835195"/>
              <a:gd name="connsiteX12" fmla="*/ 40212 h 835195"/>
              <a:gd name="connsiteY12" fmla="*/ 40212 h 835195"/>
              <a:gd name="connsiteX13" fmla="*/ 40212 h 835195"/>
              <a:gd name="connsiteY13" fmla="*/ 40212 h 835195"/>
              <a:gd name="connsiteX14" fmla="*/ 40212 h 835195"/>
              <a:gd name="connsiteY14" fmla="*/ 40212 h 835195"/>
              <a:gd name="connsiteX15" fmla="*/ 40212 h 835195"/>
              <a:gd name="connsiteY15" fmla="*/ 40212 h 835195"/>
              <a:gd name="connsiteX16" fmla="*/ 40212 h 835195"/>
              <a:gd name="connsiteY16" fmla="*/ 40212 h 835195"/>
              <a:gd name="connsiteX17" fmla="*/ 40212 h 835195"/>
              <a:gd name="connsiteY17" fmla="*/ 40212 h 835195"/>
              <a:gd name="connsiteX18" fmla="*/ 40212 h 835195"/>
              <a:gd name="connsiteY18" fmla="*/ 40212 h 835195"/>
              <a:gd name="connsiteX19" fmla="*/ 40212 h 835195"/>
              <a:gd name="connsiteY19" fmla="*/ 40212 h 835195"/>
              <a:gd name="connsiteX20" fmla="*/ 40212 h 835195"/>
              <a:gd name="connsiteY20" fmla="*/ 40212 h 835195"/>
              <a:gd name="connsiteX21" fmla="*/ 40212 h 835195"/>
              <a:gd name="connsiteY21" fmla="*/ 40212 h 835195"/>
              <a:gd name="connsiteX22" fmla="*/ 40212 h 835195"/>
              <a:gd name="connsiteY22" fmla="*/ 40212 h 835195"/>
              <a:gd name="connsiteX23" fmla="*/ 40212 h 835195"/>
              <a:gd name="connsiteY23" fmla="*/ 40212 h 835195"/>
              <a:gd name="connsiteX24" fmla="*/ 40212 h 835195"/>
              <a:gd name="connsiteY24" fmla="*/ 40212 h 835195"/>
              <a:gd name="connsiteX25" fmla="*/ 40212 h 835195"/>
              <a:gd name="connsiteY25" fmla="*/ 40212 h 835195"/>
              <a:gd name="connsiteX26" fmla="*/ 40212 h 835195"/>
              <a:gd name="connsiteY26" fmla="*/ 40212 h 835195"/>
              <a:gd name="connsiteX27" fmla="*/ 40212 h 835195"/>
              <a:gd name="connsiteY27" fmla="*/ 40212 h 835195"/>
              <a:gd name="connsiteX28" fmla="*/ 40212 h 835195"/>
              <a:gd name="connsiteY28" fmla="*/ 40212 h 835195"/>
              <a:gd name="connsiteX29" fmla="*/ 40212 h 835195"/>
              <a:gd name="connsiteY29" fmla="*/ 40212 h 835195"/>
              <a:gd name="connsiteX30" fmla="*/ 40212 h 835195"/>
              <a:gd name="connsiteY30" fmla="*/ 40212 h 835195"/>
              <a:gd name="connsiteX31" fmla="*/ 40212 h 835195"/>
              <a:gd name="connsiteY31" fmla="*/ 40212 h 835195"/>
              <a:gd name="connsiteX32" fmla="*/ 40212 h 835195"/>
              <a:gd name="connsiteY32" fmla="*/ 40212 h 835195"/>
              <a:gd name="connsiteX33" fmla="*/ 40212 h 835195"/>
              <a:gd name="connsiteY33" fmla="*/ 40212 h 835195"/>
              <a:gd name="connsiteX34" fmla="*/ 40212 h 835195"/>
              <a:gd name="connsiteY34" fmla="*/ 40212 h 835195"/>
              <a:gd name="connsiteX35" fmla="*/ 40212 h 835195"/>
              <a:gd name="connsiteY35" fmla="*/ 40212 h 835195"/>
              <a:gd name="connsiteX36" fmla="*/ 40212 h 835195"/>
              <a:gd name="connsiteY36" fmla="*/ 40212 h 835195"/>
              <a:gd name="connsiteX37" fmla="*/ 40212 h 835195"/>
              <a:gd name="connsiteY37" fmla="*/ 40212 h 835195"/>
              <a:gd name="connsiteX38" fmla="*/ 40212 h 835195"/>
              <a:gd name="connsiteY38" fmla="*/ 40212 h 835195"/>
              <a:gd name="connsiteX39" fmla="*/ 40212 h 835195"/>
              <a:gd name="connsiteY39" fmla="*/ 40212 h 835195"/>
              <a:gd name="connsiteX40" fmla="*/ 40212 h 835195"/>
              <a:gd name="connsiteY40" fmla="*/ 40212 h 835195"/>
              <a:gd name="connsiteX41" fmla="*/ 40212 h 835195"/>
              <a:gd name="connsiteY41" fmla="*/ 40212 h 835195"/>
              <a:gd name="connsiteX42" fmla="*/ 40212 h 835195"/>
              <a:gd name="connsiteY42" fmla="*/ 40212 h 835195"/>
              <a:gd name="connsiteX43" fmla="*/ 40212 h 835195"/>
              <a:gd name="connsiteY43" fmla="*/ 40212 h 835195"/>
              <a:gd name="connsiteX44" fmla="*/ 40212 h 835195"/>
              <a:gd name="connsiteY44" fmla="*/ 40212 h 835195"/>
              <a:gd name="connsiteX45" fmla="*/ 40212 h 835195"/>
              <a:gd name="connsiteY45" fmla="*/ 40212 h 835195"/>
              <a:gd name="connsiteX46" fmla="*/ 40212 h 835195"/>
              <a:gd name="connsiteY46" fmla="*/ 40212 h 835195"/>
              <a:gd name="connsiteX47" fmla="*/ 40212 h 835195"/>
              <a:gd name="connsiteY47" fmla="*/ 40212 h 835195"/>
              <a:gd name="connsiteX48" fmla="*/ 40212 h 835195"/>
              <a:gd name="connsiteY48" fmla="*/ 40212 h 835195"/>
              <a:gd name="connsiteX49" fmla="*/ 40212 h 835195"/>
              <a:gd name="connsiteY49" fmla="*/ 40212 h 835195"/>
              <a:gd name="connsiteX50" fmla="*/ 40212 h 835195"/>
              <a:gd name="connsiteY50" fmla="*/ 40212 h 835195"/>
              <a:gd name="connsiteX51" fmla="*/ 40212 h 835195"/>
              <a:gd name="connsiteY51" fmla="*/ 40212 h 835195"/>
              <a:gd name="connsiteX52" fmla="*/ 40212 h 835195"/>
              <a:gd name="connsiteY52" fmla="*/ 40212 h 835195"/>
              <a:gd name="connsiteX53" fmla="*/ 40212 h 835195"/>
              <a:gd name="connsiteY53" fmla="*/ 40212 h 835195"/>
              <a:gd name="connsiteX54" fmla="*/ 40212 h 835195"/>
              <a:gd name="connsiteY54" fmla="*/ 40212 h 835195"/>
              <a:gd name="connsiteX55" fmla="*/ 40212 h 835195"/>
              <a:gd name="connsiteY55" fmla="*/ 40212 h 835195"/>
              <a:gd name="connsiteX56" fmla="*/ 40212 h 835195"/>
              <a:gd name="connsiteY56" fmla="*/ 40212 h 835195"/>
              <a:gd name="connsiteX57" fmla="*/ 40212 h 835195"/>
              <a:gd name="connsiteY57" fmla="*/ 40212 h 835195"/>
              <a:gd name="connsiteX58" fmla="*/ 40212 h 835195"/>
              <a:gd name="connsiteY58" fmla="*/ 40212 h 835195"/>
              <a:gd name="connsiteX59" fmla="*/ 40212 h 835195"/>
              <a:gd name="connsiteY59" fmla="*/ 40212 h 835195"/>
              <a:gd name="connsiteX60" fmla="*/ 40212 h 835195"/>
              <a:gd name="connsiteY60" fmla="*/ 40212 h 835195"/>
              <a:gd name="connsiteX61" fmla="*/ 40212 h 835195"/>
              <a:gd name="connsiteY61" fmla="*/ 40212 h 835195"/>
              <a:gd name="connsiteX62" fmla="*/ 40212 h 835195"/>
              <a:gd name="connsiteY62" fmla="*/ 40212 h 835195"/>
              <a:gd name="connsiteX63" fmla="*/ 40212 h 835195"/>
              <a:gd name="connsiteY63" fmla="*/ 40212 h 835195"/>
              <a:gd name="connsiteX64" fmla="*/ 40212 h 835195"/>
              <a:gd name="connsiteY64" fmla="*/ 40212 h 835195"/>
              <a:gd name="connsiteX65" fmla="*/ 40212 h 835195"/>
              <a:gd name="connsiteY65" fmla="*/ 40212 h 835195"/>
              <a:gd name="connsiteX66" fmla="*/ 40212 h 835195"/>
              <a:gd name="connsiteY66" fmla="*/ 40212 h 835195"/>
              <a:gd name="connsiteX67" fmla="*/ 40212 h 835195"/>
              <a:gd name="connsiteY67" fmla="*/ 40212 h 835195"/>
              <a:gd name="connsiteX68" fmla="*/ 40212 h 835195"/>
              <a:gd name="connsiteY68" fmla="*/ 40212 h 835195"/>
              <a:gd name="connsiteX69" fmla="*/ 40212 h 835195"/>
              <a:gd name="connsiteY69" fmla="*/ 40212 h 835195"/>
              <a:gd name="connsiteX70" fmla="*/ 40212 h 835195"/>
              <a:gd name="connsiteY70" fmla="*/ 40212 h 835195"/>
              <a:gd name="connsiteX71" fmla="*/ 40212 h 835195"/>
              <a:gd name="connsiteY71" fmla="*/ 40212 h 835195"/>
              <a:gd name="connsiteX72" fmla="*/ 40212 h 835195"/>
              <a:gd name="connsiteY72" fmla="*/ 40212 h 835195"/>
              <a:gd name="connsiteX73" fmla="*/ 40212 h 835195"/>
              <a:gd name="connsiteY73" fmla="*/ 40212 h 835195"/>
              <a:gd name="connsiteX74" fmla="*/ 40212 h 835195"/>
              <a:gd name="connsiteY74" fmla="*/ 40212 h 835195"/>
              <a:gd name="connsiteX75" fmla="*/ 40212 h 835195"/>
              <a:gd name="connsiteY75" fmla="*/ 40212 h 835195"/>
              <a:gd name="connsiteX76" fmla="*/ 40212 h 835195"/>
              <a:gd name="connsiteY76" fmla="*/ 40212 h 835195"/>
              <a:gd name="connsiteX77" fmla="*/ 40212 h 835195"/>
              <a:gd name="connsiteY77" fmla="*/ 40212 h 835195"/>
              <a:gd name="connsiteX78" fmla="*/ 40212 h 835195"/>
              <a:gd name="connsiteY78" fmla="*/ 40212 h 835195"/>
              <a:gd name="connsiteX79" fmla="*/ 40212 h 835195"/>
              <a:gd name="connsiteY79" fmla="*/ 40212 h 83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4C5C5E4-C258-4842-B101-41EEADF757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C972DD42-D995-4F34-9E73-2090225444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4D8BCB-23D7-447E-8AB2-200A7D1528E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016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D7877B-2D86-4DB9-A09B-EA0956E1DF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85000"/>
            </a:schemeClr>
          </a:solidFill>
        </p:spPr>
        <p:txBody>
          <a:bodyPr lIns="72000" tIns="72000"/>
          <a:lstStyle>
            <a:lvl1pPr marL="0" indent="0">
              <a:buNone/>
              <a:defRPr sz="1200"/>
            </a:lvl1pPr>
          </a:lstStyle>
          <a:p>
            <a:r>
              <a:rPr lang="en-GB" dirty="0"/>
              <a:t>Click here and insert picture via Insert &gt;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143E3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7917E2-A5A0-47DE-9383-D0C8E700C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143E3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FEF2D4FE-8A7B-4290-8E1F-682561837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187" y="6314430"/>
            <a:ext cx="626164" cy="180000"/>
          </a:xfrm>
        </p:spPr>
        <p:txBody>
          <a:bodyPr/>
          <a:lstStyle>
            <a:lvl1pPr>
              <a:defRPr>
                <a:solidFill>
                  <a:srgbClr val="143E3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08573845-DB94-4812-968D-0D39D81776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4294AA0-8AAB-4C9A-BC47-6B1807F9A0F7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AAACB3DB-CBD9-48DB-B8B8-1629F8A20A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</p:spTree>
    <p:extLst>
      <p:ext uri="{BB962C8B-B14F-4D97-AF65-F5344CB8AC3E}">
        <p14:creationId xmlns:p14="http://schemas.microsoft.com/office/powerpoint/2010/main" val="100585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3758D4B7-DB29-4851-8B6F-9AEA488BF2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99D29C0-6C3A-4160-ADF8-39801DDF763F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349C651E-6388-4B77-B226-76B24743F0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42F200-5DE4-5535-077A-772FAAB5A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B6ABB7C-9C13-2A33-7FCF-82DC3EB298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124B8D-7B7B-4CF9-84AE-2006AE41D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959CA-0F9C-4708-8B36-D780C784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31865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7D8C8AC-D7F4-48E6-8A75-16B72CDA2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1DFA9FE-E169-4D62-BAC6-BAB58052C390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84040-6C21-4D2F-892C-A8539807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EC7212-EA29-4457-BF7C-36D3DE20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7037CF33-7216-C874-DFCC-8753E8221A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15191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04ED54-33D0-0190-977D-FD5A7FB85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2799"/>
          <a:stretch/>
        </p:blipFill>
        <p:spPr>
          <a:xfrm>
            <a:off x="10701033" y="3875906"/>
            <a:ext cx="1151366" cy="1702213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69BB1C-E4D3-48F7-8306-92A6834C3646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ast overskrift"/>
          <p:cNvSpPr txBox="1"/>
          <p:nvPr userDrawn="1"/>
        </p:nvSpPr>
        <p:spPr>
          <a:xfrm>
            <a:off x="358962" y="358776"/>
            <a:ext cx="11115107" cy="6874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451" y="1279979"/>
            <a:ext cx="2449275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Euclid Flex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2065" y="1289330"/>
            <a:ext cx="244927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51358" y="1279979"/>
            <a:ext cx="2449275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 COMBINATION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the background and/or logo color by clicking on the background/logo and choose a color from the Custom Colors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inspirational color combinations please visi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3"/>
              </a:rPr>
              <a:t>www.muuto.com/color-lis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66672" y="4617093"/>
            <a:ext cx="475676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6541281" y="1572369"/>
            <a:ext cx="341382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66673" y="3800099"/>
            <a:ext cx="329052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69372" y="3066944"/>
            <a:ext cx="53874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17465" y="2290848"/>
            <a:ext cx="313951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1457" y="4249640"/>
            <a:ext cx="378490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766673" y="2355654"/>
            <a:ext cx="457381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8B42AA-C5F6-07BD-6881-0C515FE128F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86540" y="3590750"/>
            <a:ext cx="698533" cy="2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131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438" y="656823"/>
            <a:ext cx="11362892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10293" y="3325226"/>
            <a:ext cx="103732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437" y="2588374"/>
            <a:ext cx="1015763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0" noProof="0" dirty="0">
                <a:solidFill>
                  <a:schemeClr val="bg1"/>
                </a:solidFill>
              </a:rPr>
              <a:t>Do not use </a:t>
            </a:r>
            <a:endParaRPr lang="en-GB" sz="24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438" y="5186455"/>
            <a:ext cx="1136288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A2CBC6B-B7D7-4692-BC0C-F137770B9571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76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3660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154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33492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91486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742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B0F7F7-C918-4EDD-A8A4-FB06D05389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62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8657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307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5629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681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4094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3369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33528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4972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74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2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12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24679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2461228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6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3378B-13A6-4533-A081-0D0E0531CB98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07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05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182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5771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8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840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D7F695-D208-4793-A028-86F6F18418A7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55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8ED2D-DC3E-4D89-AF80-9836A372492D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17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482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243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68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4" y="892"/>
            <a:ext cx="12194922" cy="685621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140013" y="1529349"/>
            <a:ext cx="3676423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40013" y="2621286"/>
            <a:ext cx="3676423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191F6F-994B-4ED6-83F0-8243A32B2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00" t="21551" r="19301" b="11950"/>
          <a:stretch/>
        </p:blipFill>
        <p:spPr>
          <a:xfrm flipH="1">
            <a:off x="-2" y="1"/>
            <a:ext cx="12198349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2"/>
            <a:ext cx="12198350" cy="685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lass wall of a building with a staircase and a large room&#10;&#10;Description automatically generated with medium confidence">
            <a:extLst>
              <a:ext uri="{FF2B5EF4-FFF2-40B4-BE49-F238E27FC236}">
                <a16:creationId xmlns:a16="http://schemas.microsoft.com/office/drawing/2014/main" id="{21089A82-E1C1-D634-FF72-CCF3D8A361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>
          <a:xfrm>
            <a:off x="7920" y="0"/>
            <a:ext cx="12198350" cy="6858000"/>
          </a:xfrm>
          <a:prstGeom prst="rect">
            <a:avLst/>
          </a:prstGeom>
        </p:spPr>
      </p:pic>
      <p:grpSp>
        <p:nvGrpSpPr>
          <p:cNvPr id="2" name="Group 4">
            <a:extLst>
              <a:ext uri="{FF2B5EF4-FFF2-40B4-BE49-F238E27FC236}">
                <a16:creationId xmlns:a16="http://schemas.microsoft.com/office/drawing/2014/main" id="{532D83A6-8265-4F7E-B894-27FC604AF1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F8DFC28-643E-4AB3-9759-31A17DE46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EAD0A289-D86F-4D57-BBEC-17E6A7D6B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F0DEC33-1332-4BB5-B434-CDF64C7DC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F3668C-5C2C-4FD5-8234-C7556836154F}"/>
              </a:ext>
            </a:extLst>
          </p:cNvPr>
          <p:cNvSpPr/>
          <p:nvPr userDrawn="1"/>
        </p:nvSpPr>
        <p:spPr>
          <a:xfrm>
            <a:off x="15840" y="0"/>
            <a:ext cx="12190430" cy="6858000"/>
          </a:xfrm>
          <a:prstGeom prst="rect">
            <a:avLst/>
          </a:prstGeom>
          <a:gradFill>
            <a:gsLst>
              <a:gs pos="0">
                <a:schemeClr val="bg2">
                  <a:alpha val="44000"/>
                </a:schemeClr>
              </a:gs>
              <a:gs pos="50000">
                <a:schemeClr val="bg2">
                  <a:alpha val="24000"/>
                </a:schemeClr>
              </a:gs>
              <a:gs pos="100000">
                <a:schemeClr val="bg2">
                  <a:alpha val="21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05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F6AF4AF3-7CF7-4A0E-9CBD-E584B7DF443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F175A7B-4653-4F6D-AEF4-75B72CEBC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4C57EA4-8E30-4ABC-9B54-28E8F3DC6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7B27E8BE-1714-48FB-977E-741A7DF67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7872000A-B571-4863-850B-1477F6A49295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90C11F2C-B491-4099-9440-B9FD7EEFF5EE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EE3DC99-69E0-4E1B-A41E-424911E9963A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52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orpl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91A76C4-C7F8-4415-96B3-FC0A174A0B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23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89" y="1484313"/>
            <a:ext cx="10964974" cy="456873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C80E3A5E-CF39-4A06-82A1-EBA8524CE8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DAF0750-3EC1-4283-8852-9BD4FA1A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C1C7064-3539-4BBC-8618-7D570609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F60CD00-6A4F-40C0-BD5B-7C60ACF92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4FD70837-F170-4EB1-A52A-F08161281421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F36CD2D-2F4E-4096-BDE0-E733F69FC529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2D8570A-48FE-408C-902D-54BF99C71AE2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2C82F5-9803-42F7-B768-117A6E0645BE}"/>
              </a:ext>
            </a:extLst>
          </p:cNvPr>
          <p:cNvCxnSpPr/>
          <p:nvPr userDrawn="1"/>
        </p:nvCxnSpPr>
        <p:spPr>
          <a:xfrm flipV="1">
            <a:off x="10682514" y="5123543"/>
            <a:ext cx="934357" cy="934357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D19C11-CE13-4725-A7EE-83CD61B65A9C}"/>
              </a:ext>
            </a:extLst>
          </p:cNvPr>
          <p:cNvCxnSpPr>
            <a:cxnSpLocks/>
          </p:cNvCxnSpPr>
          <p:nvPr userDrawn="1"/>
        </p:nvCxnSpPr>
        <p:spPr>
          <a:xfrm>
            <a:off x="8755063" y="1484313"/>
            <a:ext cx="286850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C21151A-6100-47C4-8CDF-E9A463F5C7CC}"/>
              </a:ext>
            </a:extLst>
          </p:cNvPr>
          <p:cNvCxnSpPr>
            <a:cxnSpLocks/>
          </p:cNvCxnSpPr>
          <p:nvPr userDrawn="1"/>
        </p:nvCxnSpPr>
        <p:spPr>
          <a:xfrm>
            <a:off x="957137" y="6057900"/>
            <a:ext cx="6387092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71E403A-4580-47E4-BC64-792D43EE39DF}"/>
              </a:ext>
            </a:extLst>
          </p:cNvPr>
          <p:cNvCxnSpPr>
            <a:cxnSpLocks/>
          </p:cNvCxnSpPr>
          <p:nvPr userDrawn="1"/>
        </p:nvCxnSpPr>
        <p:spPr>
          <a:xfrm>
            <a:off x="627063" y="1750060"/>
            <a:ext cx="0" cy="659311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8CBE6E-D913-45CA-B7FC-B0E8581F987C}"/>
              </a:ext>
            </a:extLst>
          </p:cNvPr>
          <p:cNvCxnSpPr/>
          <p:nvPr userDrawn="1"/>
        </p:nvCxnSpPr>
        <p:spPr>
          <a:xfrm>
            <a:off x="627063" y="3759199"/>
            <a:ext cx="0" cy="9144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15AB41-FFF1-46EA-A8BD-833CA3AA3625}"/>
              </a:ext>
            </a:extLst>
          </p:cNvPr>
          <p:cNvCxnSpPr>
            <a:cxnSpLocks/>
          </p:cNvCxnSpPr>
          <p:nvPr userDrawn="1"/>
        </p:nvCxnSpPr>
        <p:spPr>
          <a:xfrm>
            <a:off x="944880" y="1484313"/>
            <a:ext cx="344114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D4D306-F284-44A2-822B-A4EC4B6BA749}"/>
              </a:ext>
            </a:extLst>
          </p:cNvPr>
          <p:cNvCxnSpPr>
            <a:cxnSpLocks/>
          </p:cNvCxnSpPr>
          <p:nvPr userDrawn="1"/>
        </p:nvCxnSpPr>
        <p:spPr>
          <a:xfrm>
            <a:off x="11623563" y="2588217"/>
            <a:ext cx="0" cy="1030026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76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Introduction to </a:t>
            </a:r>
            <a:r>
              <a:rPr lang="en-US" err="1"/>
              <a:t>EY@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543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456237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5234" y="1484312"/>
            <a:ext cx="5336054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4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87705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12064" y="1484313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12064" y="3805482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3094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597592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1970" y="1484312"/>
            <a:ext cx="355473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8140" y="1484313"/>
            <a:ext cx="3593148" cy="456271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31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04361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27676" y="3634740"/>
            <a:ext cx="604361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77990" y="1484313"/>
            <a:ext cx="4793298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2938" y="3634740"/>
            <a:ext cx="4791456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494722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7534" y="1484314"/>
            <a:ext cx="3393754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29100" y="1484313"/>
            <a:ext cx="383159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100" y="3634740"/>
            <a:ext cx="383159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38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560430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94808" y="1484313"/>
            <a:ext cx="527648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0570" y="3829190"/>
            <a:ext cx="340466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22282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845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37659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7659" y="3829190"/>
            <a:ext cx="3827571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1484314"/>
            <a:ext cx="3404660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5736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55723" y="1484313"/>
            <a:ext cx="3393231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3829190"/>
            <a:ext cx="339323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31336" cy="22287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9C6131-DCC0-4522-BB55-858E29316D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2826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373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B6316B3F-B435-41A9-AA06-352A12B16593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B4235BE6-0CC8-420C-8EDC-6DAFCE1BF1B1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83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0FF280-6C88-44E3-A978-0BFCF9739F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9B0CC2-BC26-4633-8227-9FB69D5306F7}"/>
              </a:ext>
            </a:extLst>
          </p:cNvPr>
          <p:cNvSpPr>
            <a:spLocks/>
          </p:cNvSpPr>
          <p:nvPr userDrawn="1"/>
        </p:nvSpPr>
        <p:spPr>
          <a:xfrm>
            <a:off x="-4745" y="0"/>
            <a:ext cx="1219835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2C3567-870C-4F85-8F5F-079EDA12A1A4}"/>
              </a:ext>
            </a:extLst>
          </p:cNvPr>
          <p:cNvSpPr/>
          <p:nvPr userDrawn="1"/>
        </p:nvSpPr>
        <p:spPr>
          <a:xfrm>
            <a:off x="3175" y="0"/>
            <a:ext cx="1219043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21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391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011D3B6-538A-4B2A-980D-F9B09FECEEF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41E971-3EBE-4ADE-A743-1E94AA100804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8349" cy="685800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94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1CA99849-5A04-4869-89F7-8AC1B30435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3046E73-2500-4E81-BF0A-62AE7CD77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1A4D0B7-781A-4456-B560-EDC98B6F9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69D5B9-ABD3-4730-A6B5-7C864FC50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A526B65-2F56-442F-8B99-E9E846995CEA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8A14746-3306-4948-85B6-A17FD5B749EA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5810686-81BC-4C92-9BC0-A5772529DEB3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368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309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74039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6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9109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763433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38649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1272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44759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6027" y="719509"/>
            <a:ext cx="5709082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2225" y="5552405"/>
            <a:ext cx="104561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879" y="5966393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879" y="6164011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2224" y="5861846"/>
            <a:ext cx="5763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879" y="5656264"/>
            <a:ext cx="812633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21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52514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7751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30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783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73166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048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86186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45159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5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8807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3/14/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5733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926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97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5108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305361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2038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7" y="369888"/>
            <a:ext cx="3316427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028" y="1411288"/>
            <a:ext cx="5101706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2824" y="1411288"/>
            <a:ext cx="5613147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0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795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690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9084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8030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9157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4133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3028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6" y="369888"/>
            <a:ext cx="11230193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29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776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80211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7381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8508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9635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40763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835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3/14/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9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3/14/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152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5410" y="4980758"/>
            <a:ext cx="3446898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5412" y="5184857"/>
            <a:ext cx="3446898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3/14/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3287" y="358917"/>
            <a:ext cx="2024946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410" y="1958114"/>
            <a:ext cx="7528898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6649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835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63" y="6437116"/>
            <a:ext cx="1276350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3/14/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4" y="6437116"/>
            <a:ext cx="3827462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6000" y="6437116"/>
            <a:ext cx="509363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091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262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different colors&#10;&#10;Description automatically generated">
            <a:extLst>
              <a:ext uri="{FF2B5EF4-FFF2-40B4-BE49-F238E27FC236}">
                <a16:creationId xmlns:a16="http://schemas.microsoft.com/office/drawing/2014/main" id="{FA713C4B-012B-6BC4-6014-663819AFE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" y="0"/>
            <a:ext cx="12197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D382A-150D-D8EB-DC10-0BDA892BB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2590A-78EC-D34C-94DB-423B33ADAD62}" type="datetime4">
              <a:rPr lang="en-GB" smtClean="0"/>
              <a:t>14 March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04887-2287-C581-4D31-42D15091C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8FDC4-D7A1-423A-393D-40413C460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BE3DA4-9524-3EE2-96E7-CED6782EB9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790" y="1425577"/>
            <a:ext cx="3675061" cy="3148013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251874">
              <a:defRPr/>
            </a:lvl2pPr>
            <a:lvl3pPr marL="251874">
              <a:defRPr/>
            </a:lvl3pPr>
            <a:lvl4pPr marL="251874">
              <a:defRPr/>
            </a:lvl4pPr>
            <a:lvl5pPr marL="25187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33E2B6-7CC1-E4CE-DC67-723326E99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3975" y="1425575"/>
            <a:ext cx="5510597" cy="4578350"/>
          </a:xfrm>
        </p:spPr>
        <p:txBody>
          <a:bodyPr/>
          <a:lstStyle>
            <a:lvl1pPr marL="534721" indent="-534721">
              <a:spcBef>
                <a:spcPts val="1199"/>
              </a:spcBef>
              <a:buClr>
                <a:schemeClr val="bg1"/>
              </a:buClr>
              <a:buSzPct val="100000"/>
              <a:buFont typeface="+mj-lt"/>
              <a:buAutoNum type="arabicPeriod"/>
              <a:tabLst/>
              <a:defRPr/>
            </a:lvl1pPr>
            <a:lvl2pPr marL="807634" indent="-249113">
              <a:buClr>
                <a:schemeClr val="tx2"/>
              </a:buClr>
              <a:tabLst/>
              <a:defRPr sz="1199"/>
            </a:lvl2pPr>
            <a:lvl3pPr marL="807634" indent="-249113">
              <a:buClr>
                <a:schemeClr val="tx2"/>
              </a:buClr>
              <a:tabLst/>
              <a:defRPr sz="1199"/>
            </a:lvl3pPr>
            <a:lvl4pPr marL="807634" indent="-249113">
              <a:buClr>
                <a:schemeClr val="tx2"/>
              </a:buClr>
              <a:tabLst/>
              <a:defRPr sz="1199"/>
            </a:lvl4pPr>
            <a:lvl5pPr marL="807634" indent="-249113">
              <a:buClr>
                <a:schemeClr val="tx2"/>
              </a:buClr>
              <a:tabLst/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76077C20-E109-EED5-61AF-AF2FD09DDF4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72792" y="62896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4D1040C-8127-D987-A58C-5FFED74CF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1EB4-DEB6-F25B-933D-F007759CF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AAC198EA-29B0-7844-19F5-24EBF148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19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3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8806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3C0E18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72324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3C0E1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3C0E18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3C0E1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5346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5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5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6456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5BE91BE-1AB6-7EF4-B20A-4F1F2CA332E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0676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03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2000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553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3" name="Text Placeholder place">
            <a:extLst>
              <a:ext uri="{FF2B5EF4-FFF2-40B4-BE49-F238E27FC236}">
                <a16:creationId xmlns:a16="http://schemas.microsoft.com/office/drawing/2014/main" id="{A72E3046-EE2A-A654-E5E8-308A7CB9D8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3268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96F0A75-C608-23AB-CA71-F564B21D89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694D340-F3BB-7422-6C59-CA848299891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4EC2DE6-DE1E-2F87-84E1-8FA4512A4E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110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6DE8D83-6B6A-3522-6455-F674A9DBAC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9D9A1B3-A5F1-FD17-0C96-185B51D145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BA3AC0-03BE-4D95-92D9-C6F528C80C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1" name="Text Placeholder baggrund">
            <a:extLst>
              <a:ext uri="{FF2B5EF4-FFF2-40B4-BE49-F238E27FC236}">
                <a16:creationId xmlns:a16="http://schemas.microsoft.com/office/drawing/2014/main" id="{7661B4AB-519D-4FDF-9206-640135CAEA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1800000"/>
            <a:ext cx="3273079" cy="3384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0494" y="1800000"/>
            <a:ext cx="6060955" cy="324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1800000"/>
            <a:ext cx="484539" cy="324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B1492-7E27-4E36-9277-271D15C42A0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996599-8385-48A8-9FD6-ACBA744544E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850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C236169-AD12-4273-9544-1FCC124B5B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6968AFA8-A060-4A6A-A0FC-3452663680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2016000"/>
            <a:ext cx="3273079" cy="3168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7139" y="720000"/>
            <a:ext cx="5363272" cy="432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720000"/>
            <a:ext cx="1299714" cy="432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900-1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B61D9E-7034-47C5-9937-67D00A031B9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A48B1-8A6C-4ACF-B2E2-27D30CE8BB7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0394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F302746-FE9F-4E38-A727-8D9D743CDA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01BDB078-E176-8C62-2D9C-474C3D54C7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ADF413-CA5A-42F5-AABA-6E2A71A566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C17F3-8581-482F-99F4-A84F7726A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80D5-2AE2-4CAB-8B67-BAD1BAA4E5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3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9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0.pn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80" y="294200"/>
            <a:ext cx="4638254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8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238E7E7-C39E-4E71-BFA1-F8A621E7B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22" r:id="rId2"/>
    <p:sldLayoutId id="2147483918" r:id="rId3"/>
    <p:sldLayoutId id="2147484202" r:id="rId4"/>
    <p:sldLayoutId id="2147484203" r:id="rId5"/>
    <p:sldLayoutId id="2147484234" r:id="rId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200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616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3232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848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6464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79" y="294200"/>
            <a:ext cx="4638255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9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</p:grp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3F41230-A9CB-4E79-9B6C-D163E56F7EA2}"/>
              </a:ext>
            </a:extLst>
          </p:cNvPr>
          <p:cNvSpPr txBox="1">
            <a:spLocks/>
          </p:cNvSpPr>
          <p:nvPr userDrawn="1"/>
        </p:nvSpPr>
        <p:spPr>
          <a:xfrm>
            <a:off x="273379" y="6471245"/>
            <a:ext cx="1966901" cy="2219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763545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1199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438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2875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313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5751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>
          <p15:clr>
            <a:srgbClr val="F26B43"/>
          </p15:clr>
        </p15:guide>
        <p15:guide id="2" pos="1634">
          <p15:clr>
            <a:srgbClr val="F26B43"/>
          </p15:clr>
        </p15:guide>
        <p15:guide id="3" orient="horz" pos="1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CB63B89-B9E5-45C3-A2B2-9B5147403B3D}" type="datetime3">
              <a:rPr lang="en-US" smtClean="0"/>
              <a:t>14 March 2025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295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239" r:id="rId38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765FF2B-120A-4C41-B111-ED1B36F95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8914C53-EAD5-4084-92AD-1A23178B5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3BEA071-455E-44E0-83EF-90D3FC08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24064F2-9BA4-42C6-918A-CD0000D8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1E0F8E6C-AFE0-4EDB-8542-D2F9B9CF303F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5B8CA61-4C3D-4148-904D-789B14991D88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61F9D6D-CE5F-47BB-9E65-8C9179AD39D6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71" r:id="rId14"/>
    <p:sldLayoutId id="2147484174" r:id="rId15"/>
    <p:sldLayoutId id="2147484182" r:id="rId16"/>
    <p:sldLayoutId id="2147484186" r:id="rId17"/>
    <p:sldLayoutId id="2147484187" r:id="rId1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6" y="369888"/>
            <a:ext cx="11230193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411288"/>
            <a:ext cx="11230193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000" y="6437116"/>
            <a:ext cx="50936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5363" y="6437116"/>
            <a:ext cx="127635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4" y="6437116"/>
            <a:ext cx="3827462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37919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5" r:id="rId26"/>
    <p:sldLayoutId id="2147484237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noFill/>
                <a:latin typeface="+mj-lt"/>
              </a:defRPr>
            </a:lvl1pPr>
          </a:lstStyle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grpSp>
        <p:nvGrpSpPr>
          <p:cNvPr id="13" name="Group color guide">
            <a:extLst>
              <a:ext uri="{FF2B5EF4-FFF2-40B4-BE49-F238E27FC236}">
                <a16:creationId xmlns:a16="http://schemas.microsoft.com/office/drawing/2014/main" id="{731BBF53-B98A-4BF0-202B-77F42F206DE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721369" y="335705"/>
            <a:ext cx="1548806" cy="3843958"/>
            <a:chOff x="-1720473" y="335705"/>
            <a:chExt cx="1548000" cy="38439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F33B2F-8C60-6F50-5628-EE3BE59554F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8"/>
            <a:srcRect b="32799"/>
            <a:stretch/>
          </p:blipFill>
          <p:spPr>
            <a:xfrm>
              <a:off x="-1720471" y="1670685"/>
              <a:ext cx="1150767" cy="170221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E5841-DB1A-4D8E-9D72-BE5668A376D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11467" y="335705"/>
              <a:ext cx="147600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dirty="0"/>
                <a:t>Change the background and/or logo color by clicking </a:t>
              </a:r>
              <a:r>
                <a:rPr lang="en-GB" sz="1000" noProof="1"/>
                <a:t>on</a:t>
              </a:r>
              <a:r>
                <a:rPr lang="en-GB" sz="1000" dirty="0"/>
                <a:t> the background/logo and choose a color from the Custom Colors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496350-E013-40C9-AE39-E4107519FD9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9"/>
            <a:stretch>
              <a:fillRect/>
            </a:stretch>
          </p:blipFill>
          <p:spPr>
            <a:xfrm>
              <a:off x="-1719132" y="1358941"/>
              <a:ext cx="698169" cy="21913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5235AA-8C87-C128-3EF6-3EF6E0F659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20473" y="3502555"/>
              <a:ext cx="1548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r inspirational color combinations please visit: www.muuto.com/colorlist</a:t>
              </a:r>
            </a:p>
            <a:p>
              <a:pPr algn="l"/>
              <a:endParaRPr lang="en-GB" sz="1400" dirty="0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0187" y="360000"/>
            <a:ext cx="11475574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0187" y="1764000"/>
            <a:ext cx="11475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345314" y="6315616"/>
            <a:ext cx="197428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60187" y="6315616"/>
            <a:ext cx="62616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  <p:sldLayoutId id="2147484272" r:id="rId32"/>
    <p:sldLayoutId id="2147484273" r:id="rId33"/>
    <p:sldLayoutId id="2147484274" r:id="rId34"/>
    <p:sldLayoutId id="2147484275" r:id="rId35"/>
    <p:sldLayoutId id="2147484276" r:id="rId36"/>
    <p:sldLayoutId id="2147484277" r:id="rId37"/>
    <p:sldLayoutId id="2147484278" r:id="rId38"/>
    <p:sldLayoutId id="2147484279" r:id="rId39"/>
    <p:sldLayoutId id="2147484280" r:id="rId40"/>
    <p:sldLayoutId id="2147484281" r:id="rId41"/>
    <p:sldLayoutId id="2147484282" r:id="rId42"/>
    <p:sldLayoutId id="2147484283" r:id="rId43"/>
    <p:sldLayoutId id="2147484284" r:id="rId44"/>
    <p:sldLayoutId id="2147484285" r:id="rId45"/>
    <p:sldLayoutId id="2147484286" r:id="rId46"/>
    <p:sldLayoutId id="2147484287" r:id="rId47"/>
    <p:sldLayoutId id="2147484288" r:id="rId48"/>
    <p:sldLayoutId id="2147484289" r:id="rId49"/>
    <p:sldLayoutId id="2147484290" r:id="rId50"/>
    <p:sldLayoutId id="2147484291" r:id="rId51"/>
    <p:sldLayoutId id="2147484292" r:id="rId52"/>
    <p:sldLayoutId id="2147484293" r:id="rId53"/>
    <p:sldLayoutId id="2147484294" r:id="rId54"/>
    <p:sldLayoutId id="2147484295" r:id="rId55"/>
    <p:sldLayoutId id="2147484296" r:id="rId56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226">
          <p15:clr>
            <a:srgbClr val="F26B43"/>
          </p15:clr>
        </p15:guide>
        <p15:guide id="4" orient="horz" pos="4093">
          <p15:clr>
            <a:srgbClr val="F26B43"/>
          </p15:clr>
        </p15:guide>
        <p15:guide id="5" pos="1242">
          <p15:clr>
            <a:srgbClr val="A4A3A4"/>
          </p15:clr>
        </p15:guide>
        <p15:guide id="6" pos="1468">
          <p15:clr>
            <a:srgbClr val="A4A3A4"/>
          </p15:clr>
        </p15:guide>
        <p15:guide id="7" pos="1863">
          <p15:clr>
            <a:srgbClr val="A4A3A4"/>
          </p15:clr>
        </p15:guide>
        <p15:guide id="8" pos="2090">
          <p15:clr>
            <a:srgbClr val="A4A3A4"/>
          </p15:clr>
        </p15:guide>
        <p15:guide id="9" pos="2484">
          <p15:clr>
            <a:srgbClr val="A4A3A4"/>
          </p15:clr>
        </p15:guide>
        <p15:guide id="10" pos="2711">
          <p15:clr>
            <a:srgbClr val="A4A3A4"/>
          </p15:clr>
        </p15:guide>
        <p15:guide id="11" pos="3105">
          <p15:clr>
            <a:srgbClr val="A4A3A4"/>
          </p15:clr>
        </p15:guide>
        <p15:guide id="12" pos="3332">
          <p15:clr>
            <a:srgbClr val="A4A3A4"/>
          </p15:clr>
        </p15:guide>
        <p15:guide id="13" pos="3726">
          <p15:clr>
            <a:srgbClr val="A4A3A4"/>
          </p15:clr>
        </p15:guide>
        <p15:guide id="14" pos="3953">
          <p15:clr>
            <a:srgbClr val="A4A3A4"/>
          </p15:clr>
        </p15:guide>
        <p15:guide id="15" pos="4347">
          <p15:clr>
            <a:srgbClr val="A4A3A4"/>
          </p15:clr>
        </p15:guide>
        <p15:guide id="16" pos="4574">
          <p15:clr>
            <a:srgbClr val="A4A3A4"/>
          </p15:clr>
        </p15:guide>
        <p15:guide id="17" pos="4968">
          <p15:clr>
            <a:srgbClr val="A4A3A4"/>
          </p15:clr>
        </p15:guide>
        <p15:guide id="18" pos="5195">
          <p15:clr>
            <a:srgbClr val="A4A3A4"/>
          </p15:clr>
        </p15:guide>
        <p15:guide id="19" pos="5589">
          <p15:clr>
            <a:srgbClr val="A4A3A4"/>
          </p15:clr>
        </p15:guide>
        <p15:guide id="20" pos="5816">
          <p15:clr>
            <a:srgbClr val="A4A3A4"/>
          </p15:clr>
        </p15:guide>
        <p15:guide id="21" pos="6211">
          <p15:clr>
            <a:srgbClr val="A4A3A4"/>
          </p15:clr>
        </p15:guide>
        <p15:guide id="22" pos="6437">
          <p15:clr>
            <a:srgbClr val="A4A3A4"/>
          </p15:clr>
        </p15:guide>
        <p15:guide id="23" pos="6832">
          <p15:clr>
            <a:srgbClr val="A4A3A4"/>
          </p15:clr>
        </p15:guide>
        <p15:guide id="24" pos="7058">
          <p15:clr>
            <a:srgbClr val="A4A3A4"/>
          </p15:clr>
        </p15:guide>
        <p15:guide id="25" pos="226">
          <p15:clr>
            <a:srgbClr val="F26B43"/>
          </p15:clr>
        </p15:guide>
        <p15:guide id="26" pos="7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F9D4E20-6CF5-A340-3A78-E85A8DEDC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57DDA2-EB88-84B9-395E-7DB015EEE9FB}"/>
              </a:ext>
            </a:extLst>
          </p:cNvPr>
          <p:cNvSpPr txBox="1">
            <a:spLocks noChangeAspect="1"/>
          </p:cNvSpPr>
          <p:nvPr/>
        </p:nvSpPr>
        <p:spPr>
          <a:xfrm>
            <a:off x="416897" y="2536292"/>
            <a:ext cx="3097223" cy="2813295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  <a:highlight>
                  <a:srgbClr val="000000"/>
                </a:highlight>
              </a:rPr>
              <a:t>{{Product Packshot1}}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AFED56-B44C-0511-E62C-7BDED54D0001}"/>
              </a:ext>
            </a:extLst>
          </p:cNvPr>
          <p:cNvSpPr txBox="1">
            <a:spLocks noChangeAspect="1"/>
          </p:cNvSpPr>
          <p:nvPr/>
        </p:nvSpPr>
        <p:spPr>
          <a:xfrm>
            <a:off x="3515919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1}}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0381DF-9A36-3656-BD07-88074392F51B}"/>
              </a:ext>
            </a:extLst>
          </p:cNvPr>
          <p:cNvSpPr txBox="1">
            <a:spLocks noChangeAspect="1"/>
          </p:cNvSpPr>
          <p:nvPr/>
        </p:nvSpPr>
        <p:spPr>
          <a:xfrm>
            <a:off x="3529203" y="392867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>
                <a:solidFill>
                  <a:srgbClr val="FFFACD"/>
                </a:solidFill>
              </a:rPr>
              <a:t>Product Lifestyle3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A7F995-3F0D-6B2E-3E0B-31948F3F5CD3}"/>
              </a:ext>
            </a:extLst>
          </p:cNvPr>
          <p:cNvSpPr txBox="1">
            <a:spLocks noChangeAspect="1"/>
          </p:cNvSpPr>
          <p:nvPr/>
        </p:nvSpPr>
        <p:spPr>
          <a:xfrm>
            <a:off x="5768322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2}}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F270-EC64-7878-E0AA-E1C3F789A997}"/>
              </a:ext>
            </a:extLst>
          </p:cNvPr>
          <p:cNvSpPr txBox="1">
            <a:spLocks noChangeAspect="1"/>
          </p:cNvSpPr>
          <p:nvPr/>
        </p:nvSpPr>
        <p:spPr>
          <a:xfrm>
            <a:off x="5781606" y="392867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4}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BC1772-6780-E07F-BE59-102E94B1A7A0}"/>
              </a:ext>
            </a:extLst>
          </p:cNvPr>
          <p:cNvSpPr txBox="1">
            <a:spLocks/>
          </p:cNvSpPr>
          <p:nvPr/>
        </p:nvSpPr>
        <p:spPr>
          <a:xfrm>
            <a:off x="8056870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height}}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8D9DF-7908-D5A3-7B50-DA048C8C6A8B}"/>
              </a:ext>
            </a:extLst>
          </p:cNvPr>
          <p:cNvSpPr txBox="1">
            <a:spLocks/>
          </p:cNvSpPr>
          <p:nvPr/>
        </p:nvSpPr>
        <p:spPr>
          <a:xfrm>
            <a:off x="291832" y="495656"/>
            <a:ext cx="5120427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dirty="0">
                <a:solidFill>
                  <a:srgbClr val="FFFACD"/>
                </a:solidFill>
              </a:rPr>
              <a:t>{{Product name}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5B9C78-8D60-31D8-C65C-77B0CBA2FDA7}"/>
              </a:ext>
            </a:extLst>
          </p:cNvPr>
          <p:cNvSpPr txBox="1">
            <a:spLocks/>
          </p:cNvSpPr>
          <p:nvPr/>
        </p:nvSpPr>
        <p:spPr>
          <a:xfrm>
            <a:off x="318284" y="851861"/>
            <a:ext cx="3195836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de}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9C9A3-8569-762E-A63A-F5B70A3A8227}"/>
              </a:ext>
            </a:extLst>
          </p:cNvPr>
          <p:cNvSpPr txBox="1">
            <a:spLocks/>
          </p:cNvSpPr>
          <p:nvPr/>
        </p:nvSpPr>
        <p:spPr>
          <a:xfrm>
            <a:off x="8056869" y="3015498"/>
            <a:ext cx="3721422" cy="70823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RTS}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BE8DB8-7242-70FE-DCA2-ADFF5F9B4002}"/>
              </a:ext>
            </a:extLst>
          </p:cNvPr>
          <p:cNvSpPr txBox="1">
            <a:spLocks/>
          </p:cNvSpPr>
          <p:nvPr/>
        </p:nvSpPr>
        <p:spPr>
          <a:xfrm>
            <a:off x="8056869" y="4144719"/>
            <a:ext cx="4129610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MTO}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79F7D-277E-3198-4457-575F9817D5AF}"/>
              </a:ext>
            </a:extLst>
          </p:cNvPr>
          <p:cNvSpPr txBox="1">
            <a:spLocks/>
          </p:cNvSpPr>
          <p:nvPr/>
        </p:nvSpPr>
        <p:spPr>
          <a:xfrm>
            <a:off x="318284" y="1443862"/>
            <a:ext cx="1717398" cy="255498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Fact Sheet link}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FF5798-084A-AD81-586F-4C7A96BCFB51}"/>
              </a:ext>
            </a:extLst>
          </p:cNvPr>
          <p:cNvSpPr txBox="1">
            <a:spLocks/>
          </p:cNvSpPr>
          <p:nvPr/>
        </p:nvSpPr>
        <p:spPr>
          <a:xfrm>
            <a:off x="318284" y="1043203"/>
            <a:ext cx="1836000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untry of origin}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CA7AD-7B0C-D562-0595-468EA092AF73}"/>
              </a:ext>
            </a:extLst>
          </p:cNvPr>
          <p:cNvSpPr txBox="1">
            <a:spLocks/>
          </p:cNvSpPr>
          <p:nvPr/>
        </p:nvSpPr>
        <p:spPr>
          <a:xfrm>
            <a:off x="291833" y="1685360"/>
            <a:ext cx="1717397" cy="255498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figurator link}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E3075C-ACD2-DDA0-7876-65CC6CB19CBC}"/>
              </a:ext>
            </a:extLst>
          </p:cNvPr>
          <p:cNvSpPr txBox="1">
            <a:spLocks/>
          </p:cNvSpPr>
          <p:nvPr/>
        </p:nvSpPr>
        <p:spPr>
          <a:xfrm>
            <a:off x="8056869" y="1801687"/>
            <a:ext cx="2105799" cy="134649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 dirty="0" err="1">
                <a:solidFill>
                  <a:srgbClr val="FFFACD"/>
                </a:solidFill>
              </a:rPr>
              <a:t>CertificateName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106546-E7BE-BA5B-A468-2C60DD01CE07}"/>
              </a:ext>
            </a:extLst>
          </p:cNvPr>
          <p:cNvSpPr txBox="1">
            <a:spLocks/>
          </p:cNvSpPr>
          <p:nvPr/>
        </p:nvSpPr>
        <p:spPr>
          <a:xfrm>
            <a:off x="10196901" y="1805582"/>
            <a:ext cx="2105799" cy="134649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sumption COM}}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F3E47-90B7-E09B-ABEF-7B1726E5718A}"/>
              </a:ext>
            </a:extLst>
          </p:cNvPr>
          <p:cNvSpPr txBox="1">
            <a:spLocks/>
          </p:cNvSpPr>
          <p:nvPr/>
        </p:nvSpPr>
        <p:spPr>
          <a:xfrm>
            <a:off x="10496898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width}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14F576-54B7-9104-0E40-62945BF5A1EF}"/>
              </a:ext>
            </a:extLst>
          </p:cNvPr>
          <p:cNvSpPr txBox="1">
            <a:spLocks/>
          </p:cNvSpPr>
          <p:nvPr/>
        </p:nvSpPr>
        <p:spPr>
          <a:xfrm>
            <a:off x="8056869" y="1103308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ength}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012075-1174-203C-E273-7A9550137513}"/>
              </a:ext>
            </a:extLst>
          </p:cNvPr>
          <p:cNvSpPr txBox="1">
            <a:spLocks/>
          </p:cNvSpPr>
          <p:nvPr/>
        </p:nvSpPr>
        <p:spPr>
          <a:xfrm>
            <a:off x="9276884" y="1113696"/>
            <a:ext cx="86792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seat height}}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6C9DD-A11C-4B26-FA6D-B77AB340D874}"/>
              </a:ext>
            </a:extLst>
          </p:cNvPr>
          <p:cNvSpPr txBox="1">
            <a:spLocks/>
          </p:cNvSpPr>
          <p:nvPr/>
        </p:nvSpPr>
        <p:spPr>
          <a:xfrm>
            <a:off x="10496897" y="1099528"/>
            <a:ext cx="601213" cy="29644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iameter}}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223F92-0434-C622-3219-8BAD5811DFDD}"/>
              </a:ext>
            </a:extLst>
          </p:cNvPr>
          <p:cNvSpPr txBox="1">
            <a:spLocks/>
          </p:cNvSpPr>
          <p:nvPr/>
        </p:nvSpPr>
        <p:spPr>
          <a:xfrm>
            <a:off x="9276884" y="533013"/>
            <a:ext cx="601213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epth}}</a:t>
            </a:r>
          </a:p>
        </p:txBody>
      </p:sp>
    </p:spTree>
    <p:extLst>
      <p:ext uri="{BB962C8B-B14F-4D97-AF65-F5344CB8AC3E}">
        <p14:creationId xmlns:p14="http://schemas.microsoft.com/office/powerpoint/2010/main" val="214316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2024_Template_Dark_v2.potx" id="{C809F8AB-991E-460A-A122-03ADFA52C0BF}" vid="{4A63C152-927B-4484-91FE-BD46D62167FF}"/>
    </a:ext>
  </a:extLst>
</a:theme>
</file>

<file path=ppt/theme/theme6.xml><?xml version="1.0" encoding="utf-8"?>
<a:theme xmlns:a="http://schemas.openxmlformats.org/drawingml/2006/main" name="Muuto">
  <a:themeElements>
    <a:clrScheme name="Muuto">
      <a:dk1>
        <a:srgbClr val="000000"/>
      </a:dk1>
      <a:lt1>
        <a:srgbClr val="FFFFFF"/>
      </a:lt1>
      <a:dk2>
        <a:srgbClr val="ECE8DD"/>
      </a:dk2>
      <a:lt2>
        <a:srgbClr val="EFEEEA"/>
      </a:lt2>
      <a:accent1>
        <a:srgbClr val="2A7A57"/>
      </a:accent1>
      <a:accent2>
        <a:srgbClr val="D9CDE5"/>
      </a:accent2>
      <a:accent3>
        <a:srgbClr val="9A5E18"/>
      </a:accent3>
      <a:accent4>
        <a:srgbClr val="89BCE7"/>
      </a:accent4>
      <a:accent5>
        <a:srgbClr val="3C0E17"/>
      </a:accent5>
      <a:accent6>
        <a:srgbClr val="FFF2A4"/>
      </a:accent6>
      <a:hlink>
        <a:srgbClr val="3C0E17"/>
      </a:hlink>
      <a:folHlink>
        <a:srgbClr val="9A5E18"/>
      </a:folHlink>
    </a:clrScheme>
    <a:fontScheme name="Muuto">
      <a:majorFont>
        <a:latin typeface="Euclid Flex Medium"/>
        <a:ea typeface=""/>
        <a:cs typeface=""/>
      </a:majorFont>
      <a:minorFont>
        <a:latin typeface="Euclid Fle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Olive">
      <a:srgbClr val="687025"/>
    </a:custClr>
    <a:custClr name="Dark Green">
      <a:srgbClr val="143E3D"/>
    </a:custClr>
    <a:custClr name="Dusty Green">
      <a:srgbClr val="AEBBA7"/>
    </a:custClr>
    <a:custClr name="Sage Green">
      <a:srgbClr val="B7C5C5"/>
    </a:custClr>
    <a:custClr name="Light Green">
      <a:srgbClr val="E5F5E4"/>
    </a:custClr>
    <a:custClr name="Appel Green">
      <a:srgbClr val="B7D692"/>
    </a:custClr>
    <a:custClr name="Grass Green">
      <a:srgbClr val="549E3D"/>
    </a:custClr>
    <a:custClr name="Green">
      <a:srgbClr val="2A7A57"/>
    </a:custClr>
    <a:custClr name="Color has no name">
      <a:srgbClr val="FFFFFF"/>
    </a:custClr>
    <a:custClr name="Color has no name">
      <a:srgbClr val="FFFFFF"/>
    </a:custClr>
    <a:custClr name="Ice Blue">
      <a:srgbClr val="E2F1FD"/>
    </a:custClr>
    <a:custClr name="Light Bright Blue">
      <a:srgbClr val="C5DBF3"/>
    </a:custClr>
    <a:custClr name="Bright Blue">
      <a:srgbClr val="89BCE7"/>
    </a:custClr>
    <a:custClr name="Blue">
      <a:srgbClr val="014B8A"/>
    </a:custClr>
    <a:custClr name="Dark Blue">
      <a:srgbClr val="22283E"/>
    </a:custClr>
    <a:custClr name="Midnight Blue">
      <a:srgbClr val="3A4255"/>
    </a:custClr>
    <a:custClr name="Light Blue">
      <a:srgbClr val="A8B5D7"/>
    </a:custClr>
    <a:custClr name="Light Blue-Grey">
      <a:srgbClr val="C0CCD8"/>
    </a:custClr>
    <a:custClr name="Color has no name">
      <a:srgbClr val="FFFFFF"/>
    </a:custClr>
    <a:custClr name="Color has no name">
      <a:srgbClr val="FFFFFF"/>
    </a:custClr>
    <a:custClr name="Dark Red">
      <a:srgbClr val="7A1A1C"/>
    </a:custClr>
    <a:custClr name="Red">
      <a:srgbClr val="CC3601"/>
    </a:custClr>
    <a:custClr name="Orange">
      <a:srgbClr val="DA6E01"/>
    </a:custClr>
    <a:custClr name="Yellow">
      <a:srgbClr val="FCF1C3"/>
    </a:custClr>
    <a:custClr name="Bright Yellow">
      <a:srgbClr val="FFF2A4"/>
    </a:custClr>
    <a:custClr name="Clay Brown">
      <a:srgbClr val="B1894C"/>
    </a:custClr>
    <a:custClr name="Burnt Orange">
      <a:srgbClr val="9A5E18"/>
    </a:custClr>
    <a:custClr name="Caca D'oie">
      <a:srgbClr val="5B4A14"/>
    </a:custClr>
    <a:custClr name="Color has no name">
      <a:srgbClr val="FFFFFF"/>
    </a:custClr>
    <a:custClr name="Color has no name">
      <a:srgbClr val="FFFFFF"/>
    </a:custClr>
    <a:custClr name="Burgundy">
      <a:srgbClr val="3C0E18"/>
    </a:custClr>
    <a:custClr name="Deep Red">
      <a:srgbClr val="592A22"/>
    </a:custClr>
    <a:custClr name="Copper Brown">
      <a:srgbClr val="B76540"/>
    </a:custClr>
    <a:custClr name="Tan Rose">
      <a:srgbClr val="CA9085"/>
    </a:custClr>
    <a:custClr name="Rose">
      <a:srgbClr val="FFE4E3"/>
    </a:custClr>
    <a:custClr name="Light Lavender">
      <a:srgbClr val="F8EDFE"/>
    </a:custClr>
    <a:custClr name="Lavender">
      <a:srgbClr val="D9CDE5"/>
    </a:custClr>
    <a:custClr name="Lilac">
      <a:srgbClr val="CDB2D5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Dark Grey">
      <a:srgbClr val="4C4C4C"/>
    </a:custClr>
    <a:custClr name="Taupe">
      <a:srgbClr val="574845"/>
    </a:custClr>
    <a:custClr name="Beige-Grey">
      <a:srgbClr val="D6CECC"/>
    </a:custClr>
    <a:custClr name="Off-White">
      <a:srgbClr val="E4E4DC"/>
    </a:custClr>
    <a:custClr name="Light Grey">
      <a:srgbClr val="EFEEEA"/>
    </a:custClr>
    <a:custClr name="Beige">
      <a:srgbClr val="ECE8DD"/>
    </a:custClr>
    <a:custClr name="Beige-Green">
      <a:srgbClr val="DBD4AA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uuto template 2024" id="{0E19B4C9-9B4A-4F40-B29E-FF2C79B391CF}" vid="{3B186E71-E44C-4567-998A-D13796A889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Y Collaboration Document" ma:contentTypeID="0x010100826318CDA76982469C2C3CD2CD584741010100AD1997A9639E5E40B6BE6FC0A74D05D3" ma:contentTypeVersion="3377" ma:contentTypeDescription="Create a new document." ma:contentTypeScope="" ma:versionID="12e511fb1c7f5896e6a340768de13da3">
  <xsd:schema xmlns:xsd="http://www.w3.org/2001/XMLSchema" xmlns:xs="http://www.w3.org/2001/XMLSchema" xmlns:p="http://schemas.microsoft.com/office/2006/metadata/properties" xmlns:ns1="http://schemas.microsoft.com/sharepoint/v3" xmlns:ns2="35818088-e62d-4edf-bbb6-409430aef268" xmlns:ns3="50c908b1-f277-4340-90a9-4611d0b0f078" xmlns:ns5="c89a98dd-5f36-4e52-9907-6666324cf1a2" xmlns:ns6="654de7d7-4894-436a-9a70-ea79df3896c5" targetNamespace="http://schemas.microsoft.com/office/2006/metadata/properties" ma:root="true" ma:fieldsID="32a28d2732a65a27cb02561d5c8244d6" ns1:_="" ns2:_="" ns3:_="" ns5:_="" ns6:_="">
    <xsd:import namespace="http://schemas.microsoft.com/sharepoint/v3"/>
    <xsd:import namespace="35818088-e62d-4edf-bbb6-409430aef268"/>
    <xsd:import namespace="50c908b1-f277-4340-90a9-4611d0b0f078"/>
    <xsd:import namespace="c89a98dd-5f36-4e52-9907-6666324cf1a2"/>
    <xsd:import namespace="654de7d7-4894-436a-9a70-ea79df3896c5"/>
    <xsd:element name="properties">
      <xsd:complexType>
        <xsd:sequence>
          <xsd:element name="documentManagement">
            <xsd:complexType>
              <xsd:all>
                <xsd:element ref="ns2:ClassificationDataNoteField" minOccurs="0"/>
                <xsd:element ref="ns2:Classification_x0020_Status" minOccurs="0"/>
                <xsd:element ref="ns1:AverageRating" minOccurs="0"/>
                <xsd:element ref="ns1:RatingCount" minOccurs="0"/>
                <xsd:element ref="ns1:LikesCount" minOccurs="0"/>
                <xsd:element ref="ns3:jc981bd8ab5b47fd91abb7684c0f405b" minOccurs="0"/>
                <xsd:element ref="ns3:b4187e12891e46deb4d240a4b28bdb90" minOccurs="0"/>
                <xsd:element ref="ns3:e0e024ccac5240e69ae9c38a41bfa7a5" minOccurs="0"/>
                <xsd:element ref="ns3:TaxCatchAllLabel" minOccurs="0"/>
                <xsd:element ref="ns3:TaxCatchAll" minOccurs="0"/>
                <xsd:element ref="ns3:k8128b1c45734e36a24fce652bc7ffb7" minOccurs="0"/>
                <xsd:element ref="ns5:_dlc_DocId" minOccurs="0"/>
                <xsd:element ref="ns5:_dlc_DocIdUrl" minOccurs="0"/>
                <xsd:element ref="ns5:_dlc_DocIdPersistId" minOccurs="0"/>
                <xsd:element ref="ns1:RatedBy" minOccurs="0"/>
                <xsd:element ref="ns1:Ratings" minOccurs="0"/>
                <xsd:element ref="ns1:LikedBy" minOccurs="0"/>
                <xsd:element ref="ns3:i14ea8bbd518495ea0e20ac1ad18c527" minOccurs="0"/>
                <xsd:element ref="ns6:MediaServiceMetadata" minOccurs="0"/>
                <xsd:element ref="ns6:MediaServiceFastMetadata" minOccurs="0"/>
                <xsd:element ref="ns6:MediaServiceDateTaken" minOccurs="0"/>
                <xsd:element ref="ns6:MediaServiceAutoTags" minOccurs="0"/>
                <xsd:element ref="ns6:MediaServiceLocation" minOccurs="0"/>
                <xsd:element ref="ns6:MediaServiceOCR" minOccurs="0"/>
                <xsd:element ref="ns5:SharedWithUsers" minOccurs="0"/>
                <xsd:element ref="ns5:SharedWithDetails" minOccurs="0"/>
                <xsd:element ref="ns6:MediaServiceGenerationTime" minOccurs="0"/>
                <xsd:element ref="ns6:MediaServiceEventHashCode" minOccurs="0"/>
                <xsd:element ref="ns6:MediaServiceAutoKeyPoints" minOccurs="0"/>
                <xsd:element ref="ns6:MediaServiceKeyPoints" minOccurs="0"/>
                <xsd:element ref="ns6:MediaLengthInSeconds" minOccurs="0"/>
                <xsd:element ref="ns6:lcf76f155ced4ddcb4097134ff3c332f" minOccurs="0"/>
                <xsd:element ref="ns6:MediaServiceObjectDetectorVersions" minOccurs="0"/>
                <xsd:element ref="ns6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3" nillable="true" ma:displayName="Number of Likes" ma:internalName="LikesCount" ma:readOnly="false">
      <xsd:simpleType>
        <xsd:restriction base="dms:Unknown"/>
      </xsd:simpleType>
    </xsd:element>
    <xsd:element name="RatedBy" ma:index="29" nillable="true" ma:displayName="Rated By" ma:description="Users rated the item." ma:hidden="true" ma:list="UserInfo" ma:internalName="Rat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0" nillable="true" ma:displayName="User ratings" ma:description="User ratings for the item" ma:hidden="true" ma:internalName="Ratings" ma:readOnly="false">
      <xsd:simpleType>
        <xsd:restriction base="dms:Note"/>
      </xsd:simpleType>
    </xsd:element>
    <xsd:element name="LikedBy" ma:index="31" nillable="true" ma:displayName="Liked By" ma:hidden="true" ma:list="UserInfo" ma:internalName="Lik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ClassificationDataNoteField" ma:index="2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3" nillable="true" ma:displayName="Classification Status" ma:internalName="Classification_x0020_Statu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jc981bd8ab5b47fd91abb7684c0f405b" ma:index="14" nillable="true" ma:taxonomy="true" ma:internalName="jc981bd8ab5b47fd91abb7684c0f405b" ma:taxonomyFieldName="GeographicApplicability" ma:displayName="Geographic Applicability" ma:readOnly="false" ma:default="" ma:fieldId="{3c981bd8-ab5b-47fd-91ab-b7684c0f405b}" ma:taxonomyMulti="true" ma:sspId="33ef62f9-2e07-484b-bd79-00aec90129fe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16" nillable="true" ma:taxonomy="true" ma:internalName="b4187e12891e46deb4d240a4b28bdb90" ma:taxonomyFieldName="ContentLanguage" ma:displayName="Content Language" ma:default="" ma:fieldId="{b4187e12-891e-46de-b4d2-40a4b28bdb90}" ma:taxonomyMulti="true" ma:sspId="33ef62f9-2e07-484b-bd79-00aec90129fe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18" nillable="true" ma:taxonomy="true" ma:internalName="e0e024ccac5240e69ae9c38a41bfa7a5" ma:taxonomyFieldName="Sector" ma:displayName="Sector" ma:default="" ma:fieldId="{e0e024cc-ac52-40e6-9ae9-c38a41bfa7a5}" ma:taxonomyMulti="true" ma:sspId="33ef62f9-2e07-484b-bd79-00aec90129fe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hidden="true" ma:list="{ae6f54d8-00f5-42df-8974-d1118676b67e}" ma:internalName="TaxCatchAllLabel" ma:readOnly="false" ma:showField="CatchAllDataLabel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3" nillable="true" ma:displayName="Taxonomy Catch All Column" ma:hidden="true" ma:list="{ae6f54d8-00f5-42df-8974-d1118676b67e}" ma:internalName="TaxCatchAll" ma:readOnly="false" ma:showField="CatchAllData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25" nillable="true" ma:taxonomy="true" ma:internalName="k8128b1c45734e36a24fce652bc7ffb7" ma:taxonomyFieldName="ServiceLineFunction" ma:displayName="Service Line / Function" ma:readOnly="false" ma:default="" ma:fieldId="{48128b1c-4573-4e36-a24f-ce652bc7ffb7}" ma:taxonomyMulti="true" ma:sspId="33ef62f9-2e07-484b-bd79-00aec90129fe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4ea8bbd518495ea0e20ac1ad18c527" ma:index="32" nillable="true" ma:taxonomy="true" ma:internalName="i14ea8bbd518495ea0e20ac1ad18c527" ma:taxonomyFieldName="EYContentType" ma:displayName="EY Content Type" ma:readOnly="false" ma:default="" ma:fieldId="{214ea8bb-d518-495e-a0e2-0ac1ad18c527}" ma:sspId="33ef62f9-2e07-484b-bd79-00aec90129fe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9a98dd-5f36-4e52-9907-6666324cf1a2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de7d7-4894-436a-9a70-ea79df389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6" nillable="true" ma:displayName="Tags" ma:internalName="MediaServiceAutoTags" ma:readOnly="true">
      <xsd:simpleType>
        <xsd:restriction base="dms:Text"/>
      </xsd:simpleType>
    </xsd:element>
    <xsd:element name="MediaServiceLocation" ma:index="37" nillable="true" ma:displayName="Location" ma:internalName="MediaServiceLocation" ma:readOnly="true">
      <xsd:simpleType>
        <xsd:restriction base="dms:Text"/>
      </xsd:simpleType>
    </xsd:element>
    <xsd:element name="MediaServiceOCR" ma:index="3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4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4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1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89a98dd-5f36-4e52-9907-6666324cf1a2">
      <UserInfo>
        <DisplayName>ProjectActivityReport_Editors</DisplayName>
        <AccountId>34</AccountId>
        <AccountType/>
      </UserInfo>
      <UserInfo>
        <DisplayName>Sumanta Kundu</DisplayName>
        <AccountId>17</AccountId>
        <AccountType/>
      </UserInfo>
      <UserInfo>
        <DisplayName>Ron Sklaver</DisplayName>
        <AccountId>11685</AccountId>
        <AccountType/>
      </UserInfo>
    </SharedWithUsers>
    <LikesCount xmlns="http://schemas.microsoft.com/sharepoint/v3" xsi:nil="true"/>
    <jc981bd8ab5b47fd91abb7684c0f405b xmlns="50c908b1-f277-4340-90a9-4611d0b0f078">
      <Terms xmlns="http://schemas.microsoft.com/office/infopath/2007/PartnerControls"/>
    </jc981bd8ab5b47fd91abb7684c0f405b>
    <b4187e12891e46deb4d240a4b28bdb90 xmlns="50c908b1-f277-4340-90a9-4611d0b0f078">
      <Terms xmlns="http://schemas.microsoft.com/office/infopath/2007/PartnerControls"/>
    </b4187e12891e46deb4d240a4b28bdb90>
    <i14ea8bbd518495ea0e20ac1ad18c527 xmlns="50c908b1-f277-4340-90a9-4611d0b0f078">
      <Terms xmlns="http://schemas.microsoft.com/office/infopath/2007/PartnerControls"/>
    </i14ea8bbd518495ea0e20ac1ad18c527>
    <TaxCatchAll xmlns="50c908b1-f277-4340-90a9-4611d0b0f078" xsi:nil="true"/>
    <Ratings xmlns="http://schemas.microsoft.com/sharepoint/v3" xsi:nil="true"/>
    <e0e024ccac5240e69ae9c38a41bfa7a5 xmlns="50c908b1-f277-4340-90a9-4611d0b0f078">
      <Terms xmlns="http://schemas.microsoft.com/office/infopath/2007/PartnerControls"/>
    </e0e024ccac5240e69ae9c38a41bfa7a5>
    <_dlc_DocIdPersistId xmlns="c89a98dd-5f36-4e52-9907-6666324cf1a2" xsi:nil="true"/>
    <LikedBy xmlns="http://schemas.microsoft.com/sharepoint/v3">
      <UserInfo>
        <DisplayName/>
        <AccountId xsi:nil="true"/>
        <AccountType/>
      </UserInfo>
    </LikedBy>
    <TaxCatchAllLabel xmlns="50c908b1-f277-4340-90a9-4611d0b0f078" xsi:nil="true"/>
    <Classification_x0020_Status xmlns="35818088-e62d-4edf-bbb6-409430aef268" xsi:nil="true"/>
    <k8128b1c45734e36a24fce652bc7ffb7 xmlns="50c908b1-f277-4340-90a9-4611d0b0f078">
      <Terms xmlns="http://schemas.microsoft.com/office/infopath/2007/PartnerControls"/>
    </k8128b1c45734e36a24fce652bc7ffb7>
    <RatedBy xmlns="http://schemas.microsoft.com/sharepoint/v3">
      <UserInfo>
        <DisplayName/>
        <AccountId xsi:nil="true"/>
        <AccountType/>
      </UserInfo>
    </RatedBy>
    <_dlc_DocId xmlns="c89a98dd-5f36-4e52-9907-6666324cf1a2">KC5E5SVXH7H2-796865023-67846</_dlc_DocId>
    <_dlc_DocIdUrl xmlns="c89a98dd-5f36-4e52-9907-6666324cf1a2">
      <Url>https://sites.ey.com/sites/RealEstateServices/eyatworktoolkit/_layouts/15/DocIdRedir.aspx?ID=KC5E5SVXH7H2-796865023-67846</Url>
      <Description>KC5E5SVXH7H2-796865023-67846</Description>
    </_dlc_DocIdUrl>
    <lcf76f155ced4ddcb4097134ff3c332f xmlns="654de7d7-4894-436a-9a70-ea79df3896c5">
      <Terms xmlns="http://schemas.microsoft.com/office/infopath/2007/PartnerControls"/>
    </lcf76f155ced4ddcb4097134ff3c332f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33ef62f9-2e07-484b-bd79-00aec90129fe" ContentTypeId="0x010100826318CDA76982469C2C3CD2CD5847410101" PreviousValue="false"/>
</file>

<file path=customXml/itemProps1.xml><?xml version="1.0" encoding="utf-8"?>
<ds:datastoreItem xmlns:ds="http://schemas.openxmlformats.org/officeDocument/2006/customXml" ds:itemID="{FAD5F664-B63D-40E6-A79A-BE55485632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59327A-A8F8-402D-97F3-546AA2FB0067}">
  <ds:schemaRefs>
    <ds:schemaRef ds:uri="35818088-e62d-4edf-bbb6-409430aef268"/>
    <ds:schemaRef ds:uri="50c908b1-f277-4340-90a9-4611d0b0f078"/>
    <ds:schemaRef ds:uri="654de7d7-4894-436a-9a70-ea79df3896c5"/>
    <ds:schemaRef ds:uri="c89a98dd-5f36-4e52-9907-6666324cf1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77CA5B-02B3-41CF-A745-24B6C6D3F9E0}">
  <ds:schemaRefs>
    <ds:schemaRef ds:uri="http://schemas.microsoft.com/office/infopath/2007/PartnerControls"/>
    <ds:schemaRef ds:uri="35818088-e62d-4edf-bbb6-409430aef268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654de7d7-4894-436a-9a70-ea79df3896c5"/>
    <ds:schemaRef ds:uri="http://purl.org/dc/elements/1.1/"/>
    <ds:schemaRef ds:uri="c89a98dd-5f36-4e52-9907-6666324cf1a2"/>
    <ds:schemaRef ds:uri="50c908b1-f277-4340-90a9-4611d0b0f078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3C74437D-E3C3-46B5-BC5D-ECD801DFABB0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F51CC9A2-A6F8-4411-B4A9-B45168FD6AE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6</TotalTime>
  <Words>87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Euclid Flex</vt:lpstr>
      <vt:lpstr>Euclid Flex Medium</vt:lpstr>
      <vt:lpstr>EYInterstate</vt:lpstr>
      <vt:lpstr>EYInterstate Light</vt:lpstr>
      <vt:lpstr>EYInterstate Regular</vt:lpstr>
      <vt:lpstr>Georgia</vt:lpstr>
      <vt:lpstr>Wingdings</vt:lpstr>
      <vt:lpstr>EY light background</vt:lpstr>
      <vt:lpstr>2_EY light background</vt:lpstr>
      <vt:lpstr>8_EY dark background</vt:lpstr>
      <vt:lpstr>2_EY dark background</vt:lpstr>
      <vt:lpstr>EY Core Slides</vt:lpstr>
      <vt:lpstr>Muuto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01-3682537 Space-Driven Technology Capabilities_v6</dc:title>
  <dc:creator>Erika McClimans</dc:creator>
  <cp:keywords/>
  <cp:lastModifiedBy>Tina Korshøj</cp:lastModifiedBy>
  <cp:revision>21</cp:revision>
  <cp:lastPrinted>2024-09-13T11:43:52Z</cp:lastPrinted>
  <dcterms:created xsi:type="dcterms:W3CDTF">2021-02-10T20:58:11Z</dcterms:created>
  <dcterms:modified xsi:type="dcterms:W3CDTF">2025-03-13T23:24:3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10100AD1997A9639E5E40B6BE6FC0A74D05D3</vt:lpwstr>
  </property>
  <property fmtid="{D5CDD505-2E9C-101B-9397-08002B2CF9AE}" pid="3" name="_dlc_DocIdItemGuid">
    <vt:lpwstr>cfe65b13-1d71-409a-9f4d-ae2512c206d0</vt:lpwstr>
  </property>
  <property fmtid="{D5CDD505-2E9C-101B-9397-08002B2CF9AE}" pid="4" name="GeographicApplicability">
    <vt:lpwstr/>
  </property>
  <property fmtid="{D5CDD505-2E9C-101B-9397-08002B2CF9AE}" pid="5" name="Sector">
    <vt:lpwstr/>
  </property>
  <property fmtid="{D5CDD505-2E9C-101B-9397-08002B2CF9AE}" pid="6" name="ContentLanguage">
    <vt:lpwstr/>
  </property>
  <property fmtid="{D5CDD505-2E9C-101B-9397-08002B2CF9AE}" pid="7" name="EYContentType">
    <vt:lpwstr/>
  </property>
  <property fmtid="{D5CDD505-2E9C-101B-9397-08002B2CF9AE}" pid="8" name="ServiceLineFunction">
    <vt:lpwstr/>
  </property>
  <property fmtid="{D5CDD505-2E9C-101B-9397-08002B2CF9AE}" pid="9" name="MediaServiceImageTags">
    <vt:lpwstr/>
  </property>
</Properties>
</file>